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jpg" ContentType="image/jpeg"/>
  <Default Extension="rels" ContentType="application/vnd.openxmlformats-package.relationships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94" r:id="rId4"/>
    <p:sldMasterId id="2147483908" r:id="rId5"/>
  </p:sldMasterIdLst>
  <p:notesMasterIdLst>
    <p:notesMasterId r:id="rId12"/>
  </p:notesMasterIdLst>
  <p:handoutMasterIdLst>
    <p:handoutMasterId r:id="rId13"/>
  </p:handoutMasterIdLst>
  <p:sldIdLst>
    <p:sldId id="548" r:id="rId6"/>
    <p:sldId id="262" r:id="rId7"/>
    <p:sldId id="263" r:id="rId8"/>
    <p:sldId id="686" r:id="rId9"/>
    <p:sldId id="707" r:id="rId10"/>
    <p:sldId id="266" r:id="rId11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0050"/>
    <a:srgbClr val="B5B7BB"/>
    <a:srgbClr val="F3AFB9"/>
    <a:srgbClr val="ED8798"/>
    <a:srgbClr val="B80072"/>
    <a:srgbClr val="FBE1E5"/>
    <a:srgbClr val="86ADD8"/>
    <a:srgbClr val="E8D6C8"/>
    <a:srgbClr val="C3F3F3"/>
    <a:srgbClr val="C3F3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711" autoAdjust="0"/>
    <p:restoredTop sz="60989" autoAdjust="0"/>
  </p:normalViewPr>
  <p:slideViewPr>
    <p:cSldViewPr snapToObjects="1" showGuides="1">
      <p:cViewPr varScale="1">
        <p:scale>
          <a:sx n="88" d="100"/>
          <a:sy n="88" d="100"/>
        </p:scale>
        <p:origin x="-128" y="-32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51" d="100"/>
          <a:sy n="51" d="100"/>
        </p:scale>
        <p:origin x="-2898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3" Type="http://schemas.openxmlformats.org/officeDocument/2006/relationships/handoutMaster" Target="handoutMasters/handoutMaster1.xml"/><Relationship Id="rId14" Type="http://schemas.openxmlformats.org/officeDocument/2006/relationships/printerSettings" Target="printerSettings/printerSettings1.bin"/><Relationship Id="rId15" Type="http://schemas.openxmlformats.org/officeDocument/2006/relationships/presProps" Target="presProps.xml"/><Relationship Id="rId16" Type="http://schemas.openxmlformats.org/officeDocument/2006/relationships/viewProps" Target="viewProps.xml"/><Relationship Id="rId17" Type="http://schemas.openxmlformats.org/officeDocument/2006/relationships/theme" Target="theme/theme1.xml"/><Relationship Id="rId18" Type="http://schemas.openxmlformats.org/officeDocument/2006/relationships/tableStyles" Target="tableStyles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9" Type="http://schemas.openxmlformats.org/officeDocument/2006/relationships/slide" Target="slides/slide4.xml"/><Relationship Id="rId10" Type="http://schemas.openxmlformats.org/officeDocument/2006/relationships/slide" Target="slides/slide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8D2AFDB-8B56-433D-8DAA-9CBA4461E909}" type="datetimeFigureOut">
              <a:rPr lang="en-US" smtClean="0"/>
              <a:pPr/>
              <a:t>11/20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DF6A2A2-022B-420B-A313-FFD44CE1828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0360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3E8B32A-E9F4-4486-975F-C9AD8A3CF37F}" type="datetimeFigureOut">
              <a:rPr lang="en-US" smtClean="0"/>
              <a:pPr/>
              <a:t>11/20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9E1A3354-9A0B-49EE-95FD-23EABDFEF6C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0482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A3354-9A0B-49EE-95FD-23EABDFEF6CF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324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A3354-9A0B-49EE-95FD-23EABDFEF6C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16775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1A3354-9A0B-49EE-95FD-23EABDFEF6C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5750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png"/><Relationship Id="rId3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466980"/>
            <a:ext cx="12192000" cy="271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9600" y="2743200"/>
            <a:ext cx="7721600" cy="1066800"/>
          </a:xfrm>
        </p:spPr>
        <p:txBody>
          <a:bodyPr anchor="t">
            <a:normAutofit/>
          </a:bodyPr>
          <a:lstStyle>
            <a:lvl1pPr>
              <a:defRPr sz="27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- Limit this to just two lines onl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09600" y="4572000"/>
            <a:ext cx="7721600" cy="457200"/>
          </a:xfrm>
        </p:spPr>
        <p:txBody>
          <a:bodyPr>
            <a:norm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subtitle - Limit it to just one line onl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09600" y="6477000"/>
            <a:ext cx="140455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© Mindtree limited 2015</a:t>
            </a:r>
          </a:p>
        </p:txBody>
      </p:sp>
      <p:pic>
        <p:nvPicPr>
          <p:cNvPr id="1026" name="Picture 2" descr="D:\MT - Marketing\Corporate\Brand Council\VI\Final Guidelines\MT_Logo_Artwork\Regular_Size\RGB\Positive\MT_Logo_Reg_Full_Pos_Tag_RGB.pn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9600" y="832104"/>
            <a:ext cx="2447925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5091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10321" y="1371601"/>
            <a:ext cx="2634567" cy="163737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5290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98631" y="274640"/>
            <a:ext cx="1637371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8182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8128000" y="5257801"/>
            <a:ext cx="3559811" cy="844905"/>
            <a:chOff x="1452563" y="5010050"/>
            <a:chExt cx="7246937" cy="1717675"/>
          </a:xfrm>
        </p:grpSpPr>
        <p:sp>
          <p:nvSpPr>
            <p:cNvPr id="7" name="Freeform 5"/>
            <p:cNvSpPr>
              <a:spLocks noEditPoints="1"/>
            </p:cNvSpPr>
            <p:nvPr/>
          </p:nvSpPr>
          <p:spPr bwMode="auto">
            <a:xfrm>
              <a:off x="3711575" y="5357713"/>
              <a:ext cx="4987925" cy="1025525"/>
            </a:xfrm>
            <a:custGeom>
              <a:avLst/>
              <a:gdLst>
                <a:gd name="T0" fmla="*/ 1039 w 1328"/>
                <a:gd name="T1" fmla="*/ 188 h 272"/>
                <a:gd name="T2" fmla="*/ 1125 w 1328"/>
                <a:gd name="T3" fmla="*/ 235 h 272"/>
                <a:gd name="T4" fmla="*/ 1136 w 1328"/>
                <a:gd name="T5" fmla="*/ 259 h 272"/>
                <a:gd name="T6" fmla="*/ 1007 w 1328"/>
                <a:gd name="T7" fmla="*/ 164 h 272"/>
                <a:gd name="T8" fmla="*/ 1150 w 1328"/>
                <a:gd name="T9" fmla="*/ 175 h 272"/>
                <a:gd name="T10" fmla="*/ 1039 w 1328"/>
                <a:gd name="T11" fmla="*/ 159 h 272"/>
                <a:gd name="T12" fmla="*/ 1119 w 1328"/>
                <a:gd name="T13" fmla="*/ 156 h 272"/>
                <a:gd name="T14" fmla="*/ 1217 w 1328"/>
                <a:gd name="T15" fmla="*/ 188 h 272"/>
                <a:gd name="T16" fmla="*/ 1303 w 1328"/>
                <a:gd name="T17" fmla="*/ 235 h 272"/>
                <a:gd name="T18" fmla="*/ 1314 w 1328"/>
                <a:gd name="T19" fmla="*/ 259 h 272"/>
                <a:gd name="T20" fmla="*/ 1185 w 1328"/>
                <a:gd name="T21" fmla="*/ 164 h 272"/>
                <a:gd name="T22" fmla="*/ 1328 w 1328"/>
                <a:gd name="T23" fmla="*/ 175 h 272"/>
                <a:gd name="T24" fmla="*/ 1217 w 1328"/>
                <a:gd name="T25" fmla="*/ 159 h 272"/>
                <a:gd name="T26" fmla="*/ 1297 w 1328"/>
                <a:gd name="T27" fmla="*/ 156 h 272"/>
                <a:gd name="T28" fmla="*/ 195 w 1328"/>
                <a:gd name="T29" fmla="*/ 9 h 272"/>
                <a:gd name="T30" fmla="*/ 16 w 1328"/>
                <a:gd name="T31" fmla="*/ 0 h 272"/>
                <a:gd name="T32" fmla="*/ 15 w 1328"/>
                <a:gd name="T33" fmla="*/ 272 h 272"/>
                <a:gd name="T34" fmla="*/ 98 w 1328"/>
                <a:gd name="T35" fmla="*/ 217 h 272"/>
                <a:gd name="T36" fmla="*/ 195 w 1328"/>
                <a:gd name="T37" fmla="*/ 73 h 272"/>
                <a:gd name="T38" fmla="*/ 226 w 1328"/>
                <a:gd name="T39" fmla="*/ 257 h 272"/>
                <a:gd name="T40" fmla="*/ 297 w 1328"/>
                <a:gd name="T41" fmla="*/ 7 h 272"/>
                <a:gd name="T42" fmla="*/ 316 w 1328"/>
                <a:gd name="T43" fmla="*/ 26 h 272"/>
                <a:gd name="T44" fmla="*/ 297 w 1328"/>
                <a:gd name="T45" fmla="*/ 84 h 272"/>
                <a:gd name="T46" fmla="*/ 297 w 1328"/>
                <a:gd name="T47" fmla="*/ 272 h 272"/>
                <a:gd name="T48" fmla="*/ 513 w 1328"/>
                <a:gd name="T49" fmla="*/ 150 h 272"/>
                <a:gd name="T50" fmla="*/ 368 w 1328"/>
                <a:gd name="T51" fmla="*/ 86 h 272"/>
                <a:gd name="T52" fmla="*/ 370 w 1328"/>
                <a:gd name="T53" fmla="*/ 133 h 272"/>
                <a:gd name="T54" fmla="*/ 402 w 1328"/>
                <a:gd name="T55" fmla="*/ 256 h 272"/>
                <a:gd name="T56" fmla="*/ 481 w 1328"/>
                <a:gd name="T57" fmla="*/ 153 h 272"/>
                <a:gd name="T58" fmla="*/ 513 w 1328"/>
                <a:gd name="T59" fmla="*/ 256 h 272"/>
                <a:gd name="T60" fmla="*/ 625 w 1328"/>
                <a:gd name="T61" fmla="*/ 272 h 272"/>
                <a:gd name="T62" fmla="*/ 623 w 1328"/>
                <a:gd name="T63" fmla="*/ 84 h 272"/>
                <a:gd name="T64" fmla="*/ 683 w 1328"/>
                <a:gd name="T65" fmla="*/ 6 h 272"/>
                <a:gd name="T66" fmla="*/ 715 w 1328"/>
                <a:gd name="T67" fmla="*/ 258 h 272"/>
                <a:gd name="T68" fmla="*/ 629 w 1328"/>
                <a:gd name="T69" fmla="*/ 111 h 272"/>
                <a:gd name="T70" fmla="*/ 630 w 1328"/>
                <a:gd name="T71" fmla="*/ 244 h 272"/>
                <a:gd name="T72" fmla="*/ 837 w 1328"/>
                <a:gd name="T73" fmla="*/ 270 h 272"/>
                <a:gd name="T74" fmla="*/ 830 w 1328"/>
                <a:gd name="T75" fmla="*/ 241 h 272"/>
                <a:gd name="T76" fmla="*/ 837 w 1328"/>
                <a:gd name="T77" fmla="*/ 113 h 272"/>
                <a:gd name="T78" fmla="*/ 795 w 1328"/>
                <a:gd name="T79" fmla="*/ 86 h 272"/>
                <a:gd name="T80" fmla="*/ 763 w 1328"/>
                <a:gd name="T81" fmla="*/ 48 h 272"/>
                <a:gd name="T82" fmla="*/ 734 w 1328"/>
                <a:gd name="T83" fmla="*/ 100 h 272"/>
                <a:gd name="T84" fmla="*/ 763 w 1328"/>
                <a:gd name="T85" fmla="*/ 191 h 272"/>
                <a:gd name="T86" fmla="*/ 887 w 1328"/>
                <a:gd name="T87" fmla="*/ 86 h 272"/>
                <a:gd name="T88" fmla="*/ 889 w 1328"/>
                <a:gd name="T89" fmla="*/ 133 h 272"/>
                <a:gd name="T90" fmla="*/ 921 w 1328"/>
                <a:gd name="T91" fmla="*/ 256 h 272"/>
                <a:gd name="T92" fmla="*/ 962 w 1328"/>
                <a:gd name="T93" fmla="*/ 114 h 272"/>
                <a:gd name="T94" fmla="*/ 999 w 1328"/>
                <a:gd name="T95" fmla="*/ 101 h 272"/>
                <a:gd name="T96" fmla="*/ 887 w 1328"/>
                <a:gd name="T97" fmla="*/ 8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28" h="272">
                  <a:moveTo>
                    <a:pt x="1150" y="175"/>
                  </a:moveTo>
                  <a:cubicBezTo>
                    <a:pt x="1150" y="182"/>
                    <a:pt x="1145" y="188"/>
                    <a:pt x="1138" y="188"/>
                  </a:cubicBezTo>
                  <a:cubicBezTo>
                    <a:pt x="1039" y="188"/>
                    <a:pt x="1039" y="188"/>
                    <a:pt x="1039" y="188"/>
                  </a:cubicBezTo>
                  <a:cubicBezTo>
                    <a:pt x="1039" y="193"/>
                    <a:pt x="1039" y="193"/>
                    <a:pt x="1039" y="193"/>
                  </a:cubicBezTo>
                  <a:cubicBezTo>
                    <a:pt x="1039" y="222"/>
                    <a:pt x="1050" y="245"/>
                    <a:pt x="1080" y="245"/>
                  </a:cubicBezTo>
                  <a:cubicBezTo>
                    <a:pt x="1097" y="245"/>
                    <a:pt x="1109" y="242"/>
                    <a:pt x="1125" y="235"/>
                  </a:cubicBezTo>
                  <a:cubicBezTo>
                    <a:pt x="1127" y="234"/>
                    <a:pt x="1129" y="233"/>
                    <a:pt x="1131" y="233"/>
                  </a:cubicBezTo>
                  <a:cubicBezTo>
                    <a:pt x="1138" y="233"/>
                    <a:pt x="1143" y="240"/>
                    <a:pt x="1143" y="247"/>
                  </a:cubicBezTo>
                  <a:cubicBezTo>
                    <a:pt x="1143" y="253"/>
                    <a:pt x="1141" y="256"/>
                    <a:pt x="1136" y="259"/>
                  </a:cubicBezTo>
                  <a:cubicBezTo>
                    <a:pt x="1120" y="269"/>
                    <a:pt x="1097" y="272"/>
                    <a:pt x="1079" y="272"/>
                  </a:cubicBezTo>
                  <a:cubicBezTo>
                    <a:pt x="1030" y="272"/>
                    <a:pt x="1007" y="238"/>
                    <a:pt x="1007" y="192"/>
                  </a:cubicBezTo>
                  <a:cubicBezTo>
                    <a:pt x="1007" y="164"/>
                    <a:pt x="1007" y="164"/>
                    <a:pt x="1007" y="164"/>
                  </a:cubicBezTo>
                  <a:cubicBezTo>
                    <a:pt x="1007" y="118"/>
                    <a:pt x="1031" y="84"/>
                    <a:pt x="1079" y="84"/>
                  </a:cubicBezTo>
                  <a:cubicBezTo>
                    <a:pt x="1127" y="84"/>
                    <a:pt x="1150" y="114"/>
                    <a:pt x="1150" y="160"/>
                  </a:cubicBezTo>
                  <a:lnTo>
                    <a:pt x="1150" y="175"/>
                  </a:lnTo>
                  <a:close/>
                  <a:moveTo>
                    <a:pt x="1119" y="156"/>
                  </a:moveTo>
                  <a:cubicBezTo>
                    <a:pt x="1119" y="129"/>
                    <a:pt x="1110" y="110"/>
                    <a:pt x="1079" y="110"/>
                  </a:cubicBezTo>
                  <a:cubicBezTo>
                    <a:pt x="1051" y="110"/>
                    <a:pt x="1039" y="132"/>
                    <a:pt x="1039" y="159"/>
                  </a:cubicBezTo>
                  <a:cubicBezTo>
                    <a:pt x="1039" y="162"/>
                    <a:pt x="1039" y="162"/>
                    <a:pt x="1039" y="162"/>
                  </a:cubicBezTo>
                  <a:cubicBezTo>
                    <a:pt x="1119" y="162"/>
                    <a:pt x="1119" y="162"/>
                    <a:pt x="1119" y="162"/>
                  </a:cubicBezTo>
                  <a:lnTo>
                    <a:pt x="1119" y="156"/>
                  </a:lnTo>
                  <a:close/>
                  <a:moveTo>
                    <a:pt x="1328" y="175"/>
                  </a:moveTo>
                  <a:cubicBezTo>
                    <a:pt x="1328" y="182"/>
                    <a:pt x="1323" y="188"/>
                    <a:pt x="1316" y="188"/>
                  </a:cubicBezTo>
                  <a:cubicBezTo>
                    <a:pt x="1217" y="188"/>
                    <a:pt x="1217" y="188"/>
                    <a:pt x="1217" y="188"/>
                  </a:cubicBezTo>
                  <a:cubicBezTo>
                    <a:pt x="1217" y="193"/>
                    <a:pt x="1217" y="193"/>
                    <a:pt x="1217" y="193"/>
                  </a:cubicBezTo>
                  <a:cubicBezTo>
                    <a:pt x="1217" y="222"/>
                    <a:pt x="1228" y="245"/>
                    <a:pt x="1258" y="245"/>
                  </a:cubicBezTo>
                  <a:cubicBezTo>
                    <a:pt x="1276" y="245"/>
                    <a:pt x="1287" y="242"/>
                    <a:pt x="1303" y="235"/>
                  </a:cubicBezTo>
                  <a:cubicBezTo>
                    <a:pt x="1305" y="234"/>
                    <a:pt x="1307" y="233"/>
                    <a:pt x="1309" y="233"/>
                  </a:cubicBezTo>
                  <a:cubicBezTo>
                    <a:pt x="1316" y="233"/>
                    <a:pt x="1322" y="240"/>
                    <a:pt x="1322" y="247"/>
                  </a:cubicBezTo>
                  <a:cubicBezTo>
                    <a:pt x="1322" y="253"/>
                    <a:pt x="1319" y="256"/>
                    <a:pt x="1314" y="259"/>
                  </a:cubicBezTo>
                  <a:cubicBezTo>
                    <a:pt x="1298" y="269"/>
                    <a:pt x="1275" y="272"/>
                    <a:pt x="1257" y="272"/>
                  </a:cubicBezTo>
                  <a:cubicBezTo>
                    <a:pt x="1208" y="272"/>
                    <a:pt x="1185" y="238"/>
                    <a:pt x="1185" y="192"/>
                  </a:cubicBezTo>
                  <a:cubicBezTo>
                    <a:pt x="1185" y="164"/>
                    <a:pt x="1185" y="164"/>
                    <a:pt x="1185" y="164"/>
                  </a:cubicBezTo>
                  <a:cubicBezTo>
                    <a:pt x="1185" y="118"/>
                    <a:pt x="1209" y="84"/>
                    <a:pt x="1257" y="84"/>
                  </a:cubicBezTo>
                  <a:cubicBezTo>
                    <a:pt x="1305" y="84"/>
                    <a:pt x="1328" y="114"/>
                    <a:pt x="1328" y="160"/>
                  </a:cubicBezTo>
                  <a:lnTo>
                    <a:pt x="1328" y="175"/>
                  </a:lnTo>
                  <a:close/>
                  <a:moveTo>
                    <a:pt x="1297" y="156"/>
                  </a:moveTo>
                  <a:cubicBezTo>
                    <a:pt x="1297" y="129"/>
                    <a:pt x="1288" y="110"/>
                    <a:pt x="1257" y="110"/>
                  </a:cubicBezTo>
                  <a:cubicBezTo>
                    <a:pt x="1230" y="110"/>
                    <a:pt x="1217" y="132"/>
                    <a:pt x="1217" y="159"/>
                  </a:cubicBezTo>
                  <a:cubicBezTo>
                    <a:pt x="1217" y="162"/>
                    <a:pt x="1217" y="162"/>
                    <a:pt x="1217" y="162"/>
                  </a:cubicBezTo>
                  <a:cubicBezTo>
                    <a:pt x="1297" y="162"/>
                    <a:pt x="1297" y="162"/>
                    <a:pt x="1297" y="162"/>
                  </a:cubicBezTo>
                  <a:lnTo>
                    <a:pt x="1297" y="156"/>
                  </a:lnTo>
                  <a:close/>
                  <a:moveTo>
                    <a:pt x="226" y="15"/>
                  </a:moveTo>
                  <a:cubicBezTo>
                    <a:pt x="226" y="6"/>
                    <a:pt x="219" y="0"/>
                    <a:pt x="210" y="0"/>
                  </a:cubicBezTo>
                  <a:cubicBezTo>
                    <a:pt x="203" y="0"/>
                    <a:pt x="198" y="3"/>
                    <a:pt x="195" y="9"/>
                  </a:cubicBezTo>
                  <a:cubicBezTo>
                    <a:pt x="113" y="180"/>
                    <a:pt x="113" y="180"/>
                    <a:pt x="113" y="180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29" y="3"/>
                    <a:pt x="23" y="0"/>
                    <a:pt x="16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65"/>
                    <a:pt x="7" y="272"/>
                    <a:pt x="15" y="272"/>
                  </a:cubicBezTo>
                  <a:cubicBezTo>
                    <a:pt x="23" y="272"/>
                    <a:pt x="30" y="265"/>
                    <a:pt x="30" y="257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98" y="217"/>
                    <a:pt x="98" y="217"/>
                    <a:pt x="98" y="217"/>
                  </a:cubicBezTo>
                  <a:cubicBezTo>
                    <a:pt x="101" y="223"/>
                    <a:pt x="106" y="226"/>
                    <a:pt x="113" y="226"/>
                  </a:cubicBezTo>
                  <a:cubicBezTo>
                    <a:pt x="119" y="226"/>
                    <a:pt x="125" y="223"/>
                    <a:pt x="128" y="217"/>
                  </a:cubicBezTo>
                  <a:cubicBezTo>
                    <a:pt x="195" y="73"/>
                    <a:pt x="195" y="73"/>
                    <a:pt x="195" y="73"/>
                  </a:cubicBezTo>
                  <a:cubicBezTo>
                    <a:pt x="195" y="257"/>
                    <a:pt x="195" y="257"/>
                    <a:pt x="195" y="257"/>
                  </a:cubicBezTo>
                  <a:cubicBezTo>
                    <a:pt x="195" y="265"/>
                    <a:pt x="202" y="272"/>
                    <a:pt x="210" y="272"/>
                  </a:cubicBezTo>
                  <a:cubicBezTo>
                    <a:pt x="219" y="272"/>
                    <a:pt x="226" y="265"/>
                    <a:pt x="226" y="257"/>
                  </a:cubicBezTo>
                  <a:lnTo>
                    <a:pt x="226" y="15"/>
                  </a:lnTo>
                  <a:close/>
                  <a:moveTo>
                    <a:pt x="316" y="26"/>
                  </a:moveTo>
                  <a:cubicBezTo>
                    <a:pt x="316" y="15"/>
                    <a:pt x="308" y="7"/>
                    <a:pt x="297" y="7"/>
                  </a:cubicBezTo>
                  <a:cubicBezTo>
                    <a:pt x="287" y="7"/>
                    <a:pt x="279" y="16"/>
                    <a:pt x="279" y="26"/>
                  </a:cubicBezTo>
                  <a:cubicBezTo>
                    <a:pt x="279" y="36"/>
                    <a:pt x="287" y="44"/>
                    <a:pt x="297" y="44"/>
                  </a:cubicBezTo>
                  <a:cubicBezTo>
                    <a:pt x="308" y="44"/>
                    <a:pt x="316" y="36"/>
                    <a:pt x="316" y="26"/>
                  </a:cubicBezTo>
                  <a:close/>
                  <a:moveTo>
                    <a:pt x="313" y="256"/>
                  </a:moveTo>
                  <a:cubicBezTo>
                    <a:pt x="313" y="100"/>
                    <a:pt x="313" y="100"/>
                    <a:pt x="313" y="100"/>
                  </a:cubicBezTo>
                  <a:cubicBezTo>
                    <a:pt x="313" y="91"/>
                    <a:pt x="306" y="84"/>
                    <a:pt x="297" y="84"/>
                  </a:cubicBezTo>
                  <a:cubicBezTo>
                    <a:pt x="289" y="84"/>
                    <a:pt x="282" y="91"/>
                    <a:pt x="282" y="100"/>
                  </a:cubicBezTo>
                  <a:cubicBezTo>
                    <a:pt x="282" y="256"/>
                    <a:pt x="282" y="256"/>
                    <a:pt x="282" y="256"/>
                  </a:cubicBezTo>
                  <a:cubicBezTo>
                    <a:pt x="282" y="265"/>
                    <a:pt x="288" y="272"/>
                    <a:pt x="297" y="272"/>
                  </a:cubicBezTo>
                  <a:cubicBezTo>
                    <a:pt x="306" y="272"/>
                    <a:pt x="313" y="265"/>
                    <a:pt x="313" y="256"/>
                  </a:cubicBezTo>
                  <a:close/>
                  <a:moveTo>
                    <a:pt x="513" y="256"/>
                  </a:moveTo>
                  <a:cubicBezTo>
                    <a:pt x="513" y="150"/>
                    <a:pt x="513" y="150"/>
                    <a:pt x="513" y="150"/>
                  </a:cubicBezTo>
                  <a:cubicBezTo>
                    <a:pt x="513" y="110"/>
                    <a:pt x="497" y="84"/>
                    <a:pt x="453" y="84"/>
                  </a:cubicBezTo>
                  <a:cubicBezTo>
                    <a:pt x="432" y="84"/>
                    <a:pt x="411" y="89"/>
                    <a:pt x="396" y="106"/>
                  </a:cubicBezTo>
                  <a:cubicBezTo>
                    <a:pt x="391" y="94"/>
                    <a:pt x="381" y="86"/>
                    <a:pt x="368" y="86"/>
                  </a:cubicBezTo>
                  <a:cubicBezTo>
                    <a:pt x="360" y="86"/>
                    <a:pt x="353" y="90"/>
                    <a:pt x="353" y="98"/>
                  </a:cubicBezTo>
                  <a:cubicBezTo>
                    <a:pt x="352" y="105"/>
                    <a:pt x="355" y="108"/>
                    <a:pt x="362" y="112"/>
                  </a:cubicBezTo>
                  <a:cubicBezTo>
                    <a:pt x="367" y="115"/>
                    <a:pt x="370" y="123"/>
                    <a:pt x="370" y="133"/>
                  </a:cubicBezTo>
                  <a:cubicBezTo>
                    <a:pt x="370" y="256"/>
                    <a:pt x="370" y="256"/>
                    <a:pt x="370" y="256"/>
                  </a:cubicBezTo>
                  <a:cubicBezTo>
                    <a:pt x="370" y="265"/>
                    <a:pt x="378" y="272"/>
                    <a:pt x="386" y="272"/>
                  </a:cubicBezTo>
                  <a:cubicBezTo>
                    <a:pt x="395" y="272"/>
                    <a:pt x="402" y="265"/>
                    <a:pt x="402" y="256"/>
                  </a:cubicBezTo>
                  <a:cubicBezTo>
                    <a:pt x="402" y="137"/>
                    <a:pt x="402" y="137"/>
                    <a:pt x="402" y="137"/>
                  </a:cubicBezTo>
                  <a:cubicBezTo>
                    <a:pt x="411" y="121"/>
                    <a:pt x="428" y="114"/>
                    <a:pt x="446" y="114"/>
                  </a:cubicBezTo>
                  <a:cubicBezTo>
                    <a:pt x="473" y="114"/>
                    <a:pt x="481" y="129"/>
                    <a:pt x="481" y="153"/>
                  </a:cubicBezTo>
                  <a:cubicBezTo>
                    <a:pt x="481" y="256"/>
                    <a:pt x="481" y="256"/>
                    <a:pt x="481" y="256"/>
                  </a:cubicBezTo>
                  <a:cubicBezTo>
                    <a:pt x="481" y="265"/>
                    <a:pt x="488" y="272"/>
                    <a:pt x="497" y="272"/>
                  </a:cubicBezTo>
                  <a:cubicBezTo>
                    <a:pt x="506" y="272"/>
                    <a:pt x="513" y="265"/>
                    <a:pt x="513" y="256"/>
                  </a:cubicBezTo>
                  <a:close/>
                  <a:moveTo>
                    <a:pt x="699" y="272"/>
                  </a:moveTo>
                  <a:cubicBezTo>
                    <a:pt x="689" y="272"/>
                    <a:pt x="678" y="265"/>
                    <a:pt x="673" y="256"/>
                  </a:cubicBezTo>
                  <a:cubicBezTo>
                    <a:pt x="659" y="266"/>
                    <a:pt x="642" y="272"/>
                    <a:pt x="625" y="272"/>
                  </a:cubicBezTo>
                  <a:cubicBezTo>
                    <a:pt x="577" y="272"/>
                    <a:pt x="558" y="244"/>
                    <a:pt x="558" y="198"/>
                  </a:cubicBezTo>
                  <a:cubicBezTo>
                    <a:pt x="558" y="165"/>
                    <a:pt x="558" y="165"/>
                    <a:pt x="558" y="165"/>
                  </a:cubicBezTo>
                  <a:cubicBezTo>
                    <a:pt x="558" y="121"/>
                    <a:pt x="572" y="84"/>
                    <a:pt x="623" y="84"/>
                  </a:cubicBezTo>
                  <a:cubicBezTo>
                    <a:pt x="638" y="84"/>
                    <a:pt x="654" y="89"/>
                    <a:pt x="667" y="98"/>
                  </a:cubicBezTo>
                  <a:cubicBezTo>
                    <a:pt x="667" y="22"/>
                    <a:pt x="667" y="22"/>
                    <a:pt x="667" y="22"/>
                  </a:cubicBezTo>
                  <a:cubicBezTo>
                    <a:pt x="667" y="13"/>
                    <a:pt x="674" y="6"/>
                    <a:pt x="683" y="6"/>
                  </a:cubicBezTo>
                  <a:cubicBezTo>
                    <a:pt x="691" y="6"/>
                    <a:pt x="698" y="13"/>
                    <a:pt x="698" y="22"/>
                  </a:cubicBezTo>
                  <a:cubicBezTo>
                    <a:pt x="698" y="225"/>
                    <a:pt x="698" y="225"/>
                    <a:pt x="698" y="225"/>
                  </a:cubicBezTo>
                  <a:cubicBezTo>
                    <a:pt x="698" y="254"/>
                    <a:pt x="715" y="242"/>
                    <a:pt x="715" y="258"/>
                  </a:cubicBezTo>
                  <a:cubicBezTo>
                    <a:pt x="715" y="268"/>
                    <a:pt x="708" y="272"/>
                    <a:pt x="699" y="272"/>
                  </a:cubicBezTo>
                  <a:close/>
                  <a:moveTo>
                    <a:pt x="667" y="128"/>
                  </a:moveTo>
                  <a:cubicBezTo>
                    <a:pt x="657" y="118"/>
                    <a:pt x="643" y="111"/>
                    <a:pt x="629" y="111"/>
                  </a:cubicBezTo>
                  <a:cubicBezTo>
                    <a:pt x="598" y="111"/>
                    <a:pt x="590" y="134"/>
                    <a:pt x="590" y="161"/>
                  </a:cubicBezTo>
                  <a:cubicBezTo>
                    <a:pt x="590" y="200"/>
                    <a:pt x="590" y="200"/>
                    <a:pt x="590" y="200"/>
                  </a:cubicBezTo>
                  <a:cubicBezTo>
                    <a:pt x="590" y="228"/>
                    <a:pt x="600" y="244"/>
                    <a:pt x="630" y="244"/>
                  </a:cubicBezTo>
                  <a:cubicBezTo>
                    <a:pt x="643" y="244"/>
                    <a:pt x="657" y="238"/>
                    <a:pt x="667" y="229"/>
                  </a:cubicBezTo>
                  <a:lnTo>
                    <a:pt x="667" y="128"/>
                  </a:lnTo>
                  <a:close/>
                  <a:moveTo>
                    <a:pt x="837" y="270"/>
                  </a:moveTo>
                  <a:cubicBezTo>
                    <a:pt x="845" y="270"/>
                    <a:pt x="852" y="263"/>
                    <a:pt x="852" y="255"/>
                  </a:cubicBezTo>
                  <a:cubicBezTo>
                    <a:pt x="852" y="247"/>
                    <a:pt x="845" y="241"/>
                    <a:pt x="837" y="241"/>
                  </a:cubicBezTo>
                  <a:cubicBezTo>
                    <a:pt x="830" y="241"/>
                    <a:pt x="830" y="241"/>
                    <a:pt x="830" y="241"/>
                  </a:cubicBezTo>
                  <a:cubicBezTo>
                    <a:pt x="796" y="241"/>
                    <a:pt x="795" y="219"/>
                    <a:pt x="795" y="191"/>
                  </a:cubicBezTo>
                  <a:cubicBezTo>
                    <a:pt x="795" y="113"/>
                    <a:pt x="795" y="113"/>
                    <a:pt x="795" y="113"/>
                  </a:cubicBezTo>
                  <a:cubicBezTo>
                    <a:pt x="837" y="113"/>
                    <a:pt x="837" y="113"/>
                    <a:pt x="837" y="113"/>
                  </a:cubicBezTo>
                  <a:cubicBezTo>
                    <a:pt x="845" y="113"/>
                    <a:pt x="851" y="107"/>
                    <a:pt x="851" y="100"/>
                  </a:cubicBezTo>
                  <a:cubicBezTo>
                    <a:pt x="851" y="92"/>
                    <a:pt x="845" y="86"/>
                    <a:pt x="837" y="86"/>
                  </a:cubicBezTo>
                  <a:cubicBezTo>
                    <a:pt x="795" y="86"/>
                    <a:pt x="795" y="86"/>
                    <a:pt x="795" y="86"/>
                  </a:cubicBezTo>
                  <a:cubicBezTo>
                    <a:pt x="795" y="48"/>
                    <a:pt x="795" y="48"/>
                    <a:pt x="795" y="48"/>
                  </a:cubicBezTo>
                  <a:cubicBezTo>
                    <a:pt x="795" y="40"/>
                    <a:pt x="788" y="32"/>
                    <a:pt x="779" y="32"/>
                  </a:cubicBezTo>
                  <a:cubicBezTo>
                    <a:pt x="770" y="32"/>
                    <a:pt x="763" y="40"/>
                    <a:pt x="763" y="48"/>
                  </a:cubicBezTo>
                  <a:cubicBezTo>
                    <a:pt x="763" y="86"/>
                    <a:pt x="763" y="86"/>
                    <a:pt x="763" y="86"/>
                  </a:cubicBezTo>
                  <a:cubicBezTo>
                    <a:pt x="748" y="86"/>
                    <a:pt x="748" y="86"/>
                    <a:pt x="748" y="86"/>
                  </a:cubicBezTo>
                  <a:cubicBezTo>
                    <a:pt x="740" y="86"/>
                    <a:pt x="734" y="92"/>
                    <a:pt x="734" y="100"/>
                  </a:cubicBezTo>
                  <a:cubicBezTo>
                    <a:pt x="734" y="107"/>
                    <a:pt x="741" y="113"/>
                    <a:pt x="748" y="113"/>
                  </a:cubicBezTo>
                  <a:cubicBezTo>
                    <a:pt x="763" y="113"/>
                    <a:pt x="763" y="113"/>
                    <a:pt x="763" y="113"/>
                  </a:cubicBezTo>
                  <a:cubicBezTo>
                    <a:pt x="763" y="191"/>
                    <a:pt x="763" y="191"/>
                    <a:pt x="763" y="191"/>
                  </a:cubicBezTo>
                  <a:cubicBezTo>
                    <a:pt x="763" y="237"/>
                    <a:pt x="775" y="270"/>
                    <a:pt x="826" y="270"/>
                  </a:cubicBezTo>
                  <a:lnTo>
                    <a:pt x="837" y="270"/>
                  </a:lnTo>
                  <a:close/>
                  <a:moveTo>
                    <a:pt x="887" y="86"/>
                  </a:moveTo>
                  <a:cubicBezTo>
                    <a:pt x="879" y="86"/>
                    <a:pt x="872" y="90"/>
                    <a:pt x="872" y="98"/>
                  </a:cubicBezTo>
                  <a:cubicBezTo>
                    <a:pt x="871" y="105"/>
                    <a:pt x="875" y="108"/>
                    <a:pt x="881" y="112"/>
                  </a:cubicBezTo>
                  <a:cubicBezTo>
                    <a:pt x="886" y="115"/>
                    <a:pt x="889" y="123"/>
                    <a:pt x="889" y="133"/>
                  </a:cubicBezTo>
                  <a:cubicBezTo>
                    <a:pt x="889" y="256"/>
                    <a:pt x="889" y="256"/>
                    <a:pt x="889" y="256"/>
                  </a:cubicBezTo>
                  <a:cubicBezTo>
                    <a:pt x="889" y="265"/>
                    <a:pt x="897" y="272"/>
                    <a:pt x="905" y="272"/>
                  </a:cubicBezTo>
                  <a:cubicBezTo>
                    <a:pt x="914" y="272"/>
                    <a:pt x="921" y="265"/>
                    <a:pt x="921" y="256"/>
                  </a:cubicBezTo>
                  <a:cubicBezTo>
                    <a:pt x="921" y="220"/>
                    <a:pt x="921" y="184"/>
                    <a:pt x="921" y="147"/>
                  </a:cubicBezTo>
                  <a:cubicBezTo>
                    <a:pt x="921" y="146"/>
                    <a:pt x="924" y="139"/>
                    <a:pt x="924" y="138"/>
                  </a:cubicBezTo>
                  <a:cubicBezTo>
                    <a:pt x="931" y="121"/>
                    <a:pt x="944" y="114"/>
                    <a:pt x="962" y="114"/>
                  </a:cubicBezTo>
                  <a:cubicBezTo>
                    <a:pt x="968" y="114"/>
                    <a:pt x="974" y="115"/>
                    <a:pt x="980" y="117"/>
                  </a:cubicBezTo>
                  <a:cubicBezTo>
                    <a:pt x="981" y="117"/>
                    <a:pt x="983" y="117"/>
                    <a:pt x="984" y="117"/>
                  </a:cubicBezTo>
                  <a:cubicBezTo>
                    <a:pt x="993" y="117"/>
                    <a:pt x="999" y="109"/>
                    <a:pt x="999" y="101"/>
                  </a:cubicBezTo>
                  <a:cubicBezTo>
                    <a:pt x="999" y="85"/>
                    <a:pt x="979" y="84"/>
                    <a:pt x="967" y="84"/>
                  </a:cubicBezTo>
                  <a:cubicBezTo>
                    <a:pt x="946" y="84"/>
                    <a:pt x="929" y="92"/>
                    <a:pt x="917" y="109"/>
                  </a:cubicBezTo>
                  <a:cubicBezTo>
                    <a:pt x="912" y="96"/>
                    <a:pt x="902" y="86"/>
                    <a:pt x="887" y="8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4D4F53"/>
                </a:solidFill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1452563" y="5010050"/>
              <a:ext cx="1749425" cy="1717675"/>
            </a:xfrm>
            <a:custGeom>
              <a:avLst/>
              <a:gdLst>
                <a:gd name="T0" fmla="*/ 227 w 466"/>
                <a:gd name="T1" fmla="*/ 162 h 455"/>
                <a:gd name="T2" fmla="*/ 111 w 466"/>
                <a:gd name="T3" fmla="*/ 33 h 455"/>
                <a:gd name="T4" fmla="*/ 138 w 466"/>
                <a:gd name="T5" fmla="*/ 23 h 455"/>
                <a:gd name="T6" fmla="*/ 367 w 466"/>
                <a:gd name="T7" fmla="*/ 40 h 455"/>
                <a:gd name="T8" fmla="*/ 229 w 466"/>
                <a:gd name="T9" fmla="*/ 335 h 455"/>
                <a:gd name="T10" fmla="*/ 359 w 466"/>
                <a:gd name="T11" fmla="*/ 265 h 455"/>
                <a:gd name="T12" fmla="*/ 234 w 466"/>
                <a:gd name="T13" fmla="*/ 382 h 455"/>
                <a:gd name="T14" fmla="*/ 248 w 466"/>
                <a:gd name="T15" fmla="*/ 397 h 455"/>
                <a:gd name="T16" fmla="*/ 345 w 466"/>
                <a:gd name="T17" fmla="*/ 361 h 455"/>
                <a:gd name="T18" fmla="*/ 452 w 466"/>
                <a:gd name="T19" fmla="*/ 201 h 455"/>
                <a:gd name="T20" fmla="*/ 323 w 466"/>
                <a:gd name="T21" fmla="*/ 433 h 455"/>
                <a:gd name="T22" fmla="*/ 253 w 466"/>
                <a:gd name="T23" fmla="*/ 1 h 455"/>
                <a:gd name="T24" fmla="*/ 253 w 466"/>
                <a:gd name="T25" fmla="*/ 1 h 455"/>
                <a:gd name="T26" fmla="*/ 333 w 466"/>
                <a:gd name="T27" fmla="*/ 22 h 455"/>
                <a:gd name="T28" fmla="*/ 227 w 466"/>
                <a:gd name="T29" fmla="*/ 119 h 455"/>
                <a:gd name="T30" fmla="*/ 265 w 466"/>
                <a:gd name="T31" fmla="*/ 87 h 455"/>
                <a:gd name="T32" fmla="*/ 354 w 466"/>
                <a:gd name="T33" fmla="*/ 176 h 455"/>
                <a:gd name="T34" fmla="*/ 354 w 466"/>
                <a:gd name="T35" fmla="*/ 176 h 455"/>
                <a:gd name="T36" fmla="*/ 332 w 466"/>
                <a:gd name="T37" fmla="*/ 61 h 455"/>
                <a:gd name="T38" fmla="*/ 340 w 466"/>
                <a:gd name="T39" fmla="*/ 120 h 455"/>
                <a:gd name="T40" fmla="*/ 315 w 466"/>
                <a:gd name="T41" fmla="*/ 214 h 455"/>
                <a:gd name="T42" fmla="*/ 329 w 466"/>
                <a:gd name="T43" fmla="*/ 227 h 455"/>
                <a:gd name="T44" fmla="*/ 318 w 466"/>
                <a:gd name="T45" fmla="*/ 135 h 455"/>
                <a:gd name="T46" fmla="*/ 323 w 466"/>
                <a:gd name="T47" fmla="*/ 153 h 455"/>
                <a:gd name="T48" fmla="*/ 331 w 466"/>
                <a:gd name="T49" fmla="*/ 128 h 455"/>
                <a:gd name="T50" fmla="*/ 172 w 466"/>
                <a:gd name="T51" fmla="*/ 418 h 455"/>
                <a:gd name="T52" fmla="*/ 201 w 466"/>
                <a:gd name="T53" fmla="*/ 401 h 455"/>
                <a:gd name="T54" fmla="*/ 186 w 466"/>
                <a:gd name="T55" fmla="*/ 371 h 455"/>
                <a:gd name="T56" fmla="*/ 309 w 466"/>
                <a:gd name="T57" fmla="*/ 393 h 455"/>
                <a:gd name="T58" fmla="*/ 315 w 466"/>
                <a:gd name="T59" fmla="*/ 404 h 455"/>
                <a:gd name="T60" fmla="*/ 238 w 466"/>
                <a:gd name="T61" fmla="*/ 430 h 455"/>
                <a:gd name="T62" fmla="*/ 266 w 466"/>
                <a:gd name="T63" fmla="*/ 424 h 455"/>
                <a:gd name="T64" fmla="*/ 131 w 466"/>
                <a:gd name="T65" fmla="*/ 429 h 455"/>
                <a:gd name="T66" fmla="*/ 149 w 466"/>
                <a:gd name="T67" fmla="*/ 419 h 455"/>
                <a:gd name="T68" fmla="*/ 197 w 466"/>
                <a:gd name="T69" fmla="*/ 455 h 455"/>
                <a:gd name="T70" fmla="*/ 257 w 466"/>
                <a:gd name="T71" fmla="*/ 144 h 455"/>
                <a:gd name="T72" fmla="*/ 247 w 466"/>
                <a:gd name="T73" fmla="*/ 161 h 455"/>
                <a:gd name="T74" fmla="*/ 284 w 466"/>
                <a:gd name="T75" fmla="*/ 441 h 455"/>
                <a:gd name="T76" fmla="*/ 308 w 466"/>
                <a:gd name="T77" fmla="*/ 441 h 455"/>
                <a:gd name="T78" fmla="*/ 110 w 466"/>
                <a:gd name="T79" fmla="*/ 423 h 455"/>
                <a:gd name="T80" fmla="*/ 163 w 466"/>
                <a:gd name="T81" fmla="*/ 342 h 455"/>
                <a:gd name="T82" fmla="*/ 295 w 466"/>
                <a:gd name="T83" fmla="*/ 237 h 455"/>
                <a:gd name="T84" fmla="*/ 93 w 466"/>
                <a:gd name="T85" fmla="*/ 394 h 455"/>
                <a:gd name="T86" fmla="*/ 298 w 466"/>
                <a:gd name="T87" fmla="*/ 160 h 455"/>
                <a:gd name="T88" fmla="*/ 80 w 466"/>
                <a:gd name="T89" fmla="*/ 382 h 455"/>
                <a:gd name="T90" fmla="*/ 184 w 466"/>
                <a:gd name="T91" fmla="*/ 192 h 455"/>
                <a:gd name="T92" fmla="*/ 66 w 466"/>
                <a:gd name="T93" fmla="*/ 367 h 455"/>
                <a:gd name="T94" fmla="*/ 197 w 466"/>
                <a:gd name="T95" fmla="*/ 122 h 455"/>
                <a:gd name="T96" fmla="*/ 54 w 466"/>
                <a:gd name="T97" fmla="*/ 351 h 455"/>
                <a:gd name="T98" fmla="*/ 271 w 466"/>
                <a:gd name="T99" fmla="*/ 48 h 455"/>
                <a:gd name="T100" fmla="*/ 95 w 466"/>
                <a:gd name="T101" fmla="*/ 161 h 455"/>
                <a:gd name="T102" fmla="*/ 190 w 466"/>
                <a:gd name="T103" fmla="*/ 45 h 455"/>
                <a:gd name="T104" fmla="*/ 58 w 466"/>
                <a:gd name="T105" fmla="*/ 145 h 455"/>
                <a:gd name="T106" fmla="*/ 29 w 466"/>
                <a:gd name="T107" fmla="*/ 159 h 455"/>
                <a:gd name="T108" fmla="*/ 100 w 466"/>
                <a:gd name="T109" fmla="*/ 43 h 455"/>
                <a:gd name="T110" fmla="*/ 168 w 466"/>
                <a:gd name="T111" fmla="*/ 9 h 455"/>
                <a:gd name="T112" fmla="*/ 151 w 466"/>
                <a:gd name="T113" fmla="*/ 2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6" h="455">
                  <a:moveTo>
                    <a:pt x="235" y="168"/>
                  </a:moveTo>
                  <a:cubicBezTo>
                    <a:pt x="235" y="178"/>
                    <a:pt x="216" y="189"/>
                    <a:pt x="207" y="189"/>
                  </a:cubicBezTo>
                  <a:cubicBezTo>
                    <a:pt x="203" y="189"/>
                    <a:pt x="199" y="188"/>
                    <a:pt x="199" y="183"/>
                  </a:cubicBezTo>
                  <a:cubicBezTo>
                    <a:pt x="199" y="174"/>
                    <a:pt x="218" y="162"/>
                    <a:pt x="227" y="162"/>
                  </a:cubicBezTo>
                  <a:cubicBezTo>
                    <a:pt x="231" y="162"/>
                    <a:pt x="235" y="163"/>
                    <a:pt x="235" y="168"/>
                  </a:cubicBezTo>
                  <a:close/>
                  <a:moveTo>
                    <a:pt x="138" y="23"/>
                  </a:moveTo>
                  <a:cubicBezTo>
                    <a:pt x="137" y="21"/>
                    <a:pt x="135" y="20"/>
                    <a:pt x="131" y="20"/>
                  </a:cubicBezTo>
                  <a:cubicBezTo>
                    <a:pt x="122" y="21"/>
                    <a:pt x="113" y="27"/>
                    <a:pt x="111" y="33"/>
                  </a:cubicBezTo>
                  <a:cubicBezTo>
                    <a:pt x="111" y="35"/>
                    <a:pt x="110" y="37"/>
                    <a:pt x="112" y="39"/>
                  </a:cubicBezTo>
                  <a:cubicBezTo>
                    <a:pt x="113" y="40"/>
                    <a:pt x="114" y="41"/>
                    <a:pt x="116" y="41"/>
                  </a:cubicBezTo>
                  <a:cubicBezTo>
                    <a:pt x="123" y="41"/>
                    <a:pt x="134" y="36"/>
                    <a:pt x="138" y="29"/>
                  </a:cubicBezTo>
                  <a:cubicBezTo>
                    <a:pt x="139" y="27"/>
                    <a:pt x="139" y="25"/>
                    <a:pt x="138" y="23"/>
                  </a:cubicBezTo>
                  <a:close/>
                  <a:moveTo>
                    <a:pt x="466" y="226"/>
                  </a:moveTo>
                  <a:cubicBezTo>
                    <a:pt x="466" y="161"/>
                    <a:pt x="438" y="92"/>
                    <a:pt x="375" y="42"/>
                  </a:cubicBezTo>
                  <a:cubicBezTo>
                    <a:pt x="373" y="41"/>
                    <a:pt x="371" y="40"/>
                    <a:pt x="369" y="39"/>
                  </a:cubicBezTo>
                  <a:cubicBezTo>
                    <a:pt x="368" y="39"/>
                    <a:pt x="368" y="39"/>
                    <a:pt x="367" y="40"/>
                  </a:cubicBezTo>
                  <a:cubicBezTo>
                    <a:pt x="367" y="40"/>
                    <a:pt x="367" y="41"/>
                    <a:pt x="367" y="42"/>
                  </a:cubicBezTo>
                  <a:cubicBezTo>
                    <a:pt x="422" y="103"/>
                    <a:pt x="400" y="192"/>
                    <a:pt x="360" y="238"/>
                  </a:cubicBezTo>
                  <a:cubicBezTo>
                    <a:pt x="325" y="278"/>
                    <a:pt x="280" y="307"/>
                    <a:pt x="239" y="329"/>
                  </a:cubicBezTo>
                  <a:cubicBezTo>
                    <a:pt x="236" y="331"/>
                    <a:pt x="231" y="333"/>
                    <a:pt x="229" y="335"/>
                  </a:cubicBezTo>
                  <a:cubicBezTo>
                    <a:pt x="225" y="339"/>
                    <a:pt x="224" y="343"/>
                    <a:pt x="225" y="346"/>
                  </a:cubicBezTo>
                  <a:cubicBezTo>
                    <a:pt x="227" y="350"/>
                    <a:pt x="230" y="351"/>
                    <a:pt x="236" y="351"/>
                  </a:cubicBezTo>
                  <a:cubicBezTo>
                    <a:pt x="239" y="350"/>
                    <a:pt x="246" y="348"/>
                    <a:pt x="250" y="346"/>
                  </a:cubicBezTo>
                  <a:cubicBezTo>
                    <a:pt x="288" y="326"/>
                    <a:pt x="328" y="299"/>
                    <a:pt x="359" y="265"/>
                  </a:cubicBezTo>
                  <a:cubicBezTo>
                    <a:pt x="397" y="223"/>
                    <a:pt x="421" y="169"/>
                    <a:pt x="412" y="104"/>
                  </a:cubicBezTo>
                  <a:cubicBezTo>
                    <a:pt x="412" y="105"/>
                    <a:pt x="413" y="106"/>
                    <a:pt x="413" y="107"/>
                  </a:cubicBezTo>
                  <a:cubicBezTo>
                    <a:pt x="434" y="158"/>
                    <a:pt x="417" y="222"/>
                    <a:pt x="371" y="279"/>
                  </a:cubicBezTo>
                  <a:cubicBezTo>
                    <a:pt x="339" y="320"/>
                    <a:pt x="292" y="356"/>
                    <a:pt x="234" y="382"/>
                  </a:cubicBezTo>
                  <a:cubicBezTo>
                    <a:pt x="230" y="384"/>
                    <a:pt x="224" y="387"/>
                    <a:pt x="221" y="392"/>
                  </a:cubicBezTo>
                  <a:cubicBezTo>
                    <a:pt x="220" y="395"/>
                    <a:pt x="220" y="398"/>
                    <a:pt x="221" y="400"/>
                  </a:cubicBezTo>
                  <a:cubicBezTo>
                    <a:pt x="222" y="402"/>
                    <a:pt x="224" y="403"/>
                    <a:pt x="227" y="404"/>
                  </a:cubicBezTo>
                  <a:cubicBezTo>
                    <a:pt x="234" y="404"/>
                    <a:pt x="241" y="400"/>
                    <a:pt x="248" y="397"/>
                  </a:cubicBezTo>
                  <a:cubicBezTo>
                    <a:pt x="340" y="352"/>
                    <a:pt x="440" y="268"/>
                    <a:pt x="435" y="145"/>
                  </a:cubicBezTo>
                  <a:cubicBezTo>
                    <a:pt x="435" y="147"/>
                    <a:pt x="436" y="148"/>
                    <a:pt x="436" y="149"/>
                  </a:cubicBezTo>
                  <a:cubicBezTo>
                    <a:pt x="446" y="199"/>
                    <a:pt x="435" y="244"/>
                    <a:pt x="413" y="282"/>
                  </a:cubicBezTo>
                  <a:cubicBezTo>
                    <a:pt x="395" y="314"/>
                    <a:pt x="370" y="340"/>
                    <a:pt x="345" y="361"/>
                  </a:cubicBezTo>
                  <a:cubicBezTo>
                    <a:pt x="332" y="372"/>
                    <a:pt x="326" y="379"/>
                    <a:pt x="330" y="384"/>
                  </a:cubicBezTo>
                  <a:cubicBezTo>
                    <a:pt x="333" y="390"/>
                    <a:pt x="342" y="387"/>
                    <a:pt x="347" y="384"/>
                  </a:cubicBezTo>
                  <a:cubicBezTo>
                    <a:pt x="357" y="378"/>
                    <a:pt x="366" y="369"/>
                    <a:pt x="373" y="363"/>
                  </a:cubicBezTo>
                  <a:cubicBezTo>
                    <a:pt x="414" y="321"/>
                    <a:pt x="445" y="276"/>
                    <a:pt x="452" y="201"/>
                  </a:cubicBezTo>
                  <a:cubicBezTo>
                    <a:pt x="452" y="205"/>
                    <a:pt x="453" y="209"/>
                    <a:pt x="453" y="211"/>
                  </a:cubicBezTo>
                  <a:cubicBezTo>
                    <a:pt x="454" y="249"/>
                    <a:pt x="447" y="284"/>
                    <a:pt x="433" y="314"/>
                  </a:cubicBezTo>
                  <a:cubicBezTo>
                    <a:pt x="412" y="359"/>
                    <a:pt x="376" y="395"/>
                    <a:pt x="333" y="417"/>
                  </a:cubicBezTo>
                  <a:cubicBezTo>
                    <a:pt x="324" y="422"/>
                    <a:pt x="321" y="427"/>
                    <a:pt x="323" y="433"/>
                  </a:cubicBezTo>
                  <a:cubicBezTo>
                    <a:pt x="324" y="436"/>
                    <a:pt x="327" y="437"/>
                    <a:pt x="330" y="437"/>
                  </a:cubicBezTo>
                  <a:cubicBezTo>
                    <a:pt x="334" y="438"/>
                    <a:pt x="337" y="436"/>
                    <a:pt x="341" y="435"/>
                  </a:cubicBezTo>
                  <a:cubicBezTo>
                    <a:pt x="418" y="393"/>
                    <a:pt x="466" y="315"/>
                    <a:pt x="466" y="226"/>
                  </a:cubicBezTo>
                  <a:close/>
                  <a:moveTo>
                    <a:pt x="253" y="1"/>
                  </a:moveTo>
                  <a:cubicBezTo>
                    <a:pt x="245" y="0"/>
                    <a:pt x="227" y="6"/>
                    <a:pt x="228" y="13"/>
                  </a:cubicBezTo>
                  <a:cubicBezTo>
                    <a:pt x="228" y="17"/>
                    <a:pt x="231" y="18"/>
                    <a:pt x="234" y="19"/>
                  </a:cubicBezTo>
                  <a:cubicBezTo>
                    <a:pt x="242" y="19"/>
                    <a:pt x="260" y="15"/>
                    <a:pt x="260" y="7"/>
                  </a:cubicBezTo>
                  <a:cubicBezTo>
                    <a:pt x="260" y="3"/>
                    <a:pt x="256" y="2"/>
                    <a:pt x="253" y="1"/>
                  </a:cubicBezTo>
                  <a:close/>
                  <a:moveTo>
                    <a:pt x="325" y="17"/>
                  </a:moveTo>
                  <a:cubicBezTo>
                    <a:pt x="319" y="16"/>
                    <a:pt x="306" y="20"/>
                    <a:pt x="305" y="27"/>
                  </a:cubicBezTo>
                  <a:cubicBezTo>
                    <a:pt x="305" y="31"/>
                    <a:pt x="310" y="33"/>
                    <a:pt x="313" y="33"/>
                  </a:cubicBezTo>
                  <a:cubicBezTo>
                    <a:pt x="319" y="33"/>
                    <a:pt x="333" y="30"/>
                    <a:pt x="333" y="22"/>
                  </a:cubicBezTo>
                  <a:cubicBezTo>
                    <a:pt x="334" y="18"/>
                    <a:pt x="328" y="17"/>
                    <a:pt x="325" y="17"/>
                  </a:cubicBezTo>
                  <a:close/>
                  <a:moveTo>
                    <a:pt x="250" y="92"/>
                  </a:moveTo>
                  <a:cubicBezTo>
                    <a:pt x="240" y="91"/>
                    <a:pt x="220" y="103"/>
                    <a:pt x="220" y="113"/>
                  </a:cubicBezTo>
                  <a:cubicBezTo>
                    <a:pt x="220" y="117"/>
                    <a:pt x="223" y="119"/>
                    <a:pt x="227" y="119"/>
                  </a:cubicBezTo>
                  <a:cubicBezTo>
                    <a:pt x="236" y="119"/>
                    <a:pt x="256" y="108"/>
                    <a:pt x="257" y="97"/>
                  </a:cubicBezTo>
                  <a:cubicBezTo>
                    <a:pt x="257" y="93"/>
                    <a:pt x="253" y="92"/>
                    <a:pt x="250" y="92"/>
                  </a:cubicBezTo>
                  <a:close/>
                  <a:moveTo>
                    <a:pt x="290" y="71"/>
                  </a:moveTo>
                  <a:cubicBezTo>
                    <a:pt x="282" y="71"/>
                    <a:pt x="266" y="78"/>
                    <a:pt x="265" y="87"/>
                  </a:cubicBezTo>
                  <a:cubicBezTo>
                    <a:pt x="265" y="90"/>
                    <a:pt x="268" y="92"/>
                    <a:pt x="271" y="92"/>
                  </a:cubicBezTo>
                  <a:cubicBezTo>
                    <a:pt x="279" y="93"/>
                    <a:pt x="295" y="86"/>
                    <a:pt x="296" y="77"/>
                  </a:cubicBezTo>
                  <a:cubicBezTo>
                    <a:pt x="296" y="73"/>
                    <a:pt x="293" y="71"/>
                    <a:pt x="290" y="71"/>
                  </a:cubicBezTo>
                  <a:close/>
                  <a:moveTo>
                    <a:pt x="354" y="176"/>
                  </a:moveTo>
                  <a:cubicBezTo>
                    <a:pt x="347" y="176"/>
                    <a:pt x="341" y="184"/>
                    <a:pt x="341" y="190"/>
                  </a:cubicBezTo>
                  <a:cubicBezTo>
                    <a:pt x="341" y="194"/>
                    <a:pt x="343" y="197"/>
                    <a:pt x="347" y="197"/>
                  </a:cubicBezTo>
                  <a:cubicBezTo>
                    <a:pt x="353" y="197"/>
                    <a:pt x="360" y="188"/>
                    <a:pt x="360" y="182"/>
                  </a:cubicBezTo>
                  <a:cubicBezTo>
                    <a:pt x="360" y="178"/>
                    <a:pt x="358" y="176"/>
                    <a:pt x="354" y="176"/>
                  </a:cubicBezTo>
                  <a:close/>
                  <a:moveTo>
                    <a:pt x="327" y="56"/>
                  </a:moveTo>
                  <a:cubicBezTo>
                    <a:pt x="321" y="55"/>
                    <a:pt x="310" y="60"/>
                    <a:pt x="309" y="67"/>
                  </a:cubicBezTo>
                  <a:cubicBezTo>
                    <a:pt x="309" y="70"/>
                    <a:pt x="312" y="71"/>
                    <a:pt x="314" y="72"/>
                  </a:cubicBezTo>
                  <a:cubicBezTo>
                    <a:pt x="320" y="72"/>
                    <a:pt x="332" y="68"/>
                    <a:pt x="332" y="61"/>
                  </a:cubicBezTo>
                  <a:cubicBezTo>
                    <a:pt x="333" y="58"/>
                    <a:pt x="330" y="56"/>
                    <a:pt x="327" y="56"/>
                  </a:cubicBezTo>
                  <a:close/>
                  <a:moveTo>
                    <a:pt x="348" y="99"/>
                  </a:moveTo>
                  <a:cubicBezTo>
                    <a:pt x="342" y="99"/>
                    <a:pt x="335" y="109"/>
                    <a:pt x="335" y="115"/>
                  </a:cubicBezTo>
                  <a:cubicBezTo>
                    <a:pt x="335" y="117"/>
                    <a:pt x="337" y="120"/>
                    <a:pt x="340" y="120"/>
                  </a:cubicBezTo>
                  <a:cubicBezTo>
                    <a:pt x="346" y="120"/>
                    <a:pt x="353" y="110"/>
                    <a:pt x="353" y="105"/>
                  </a:cubicBezTo>
                  <a:cubicBezTo>
                    <a:pt x="353" y="102"/>
                    <a:pt x="351" y="99"/>
                    <a:pt x="348" y="99"/>
                  </a:cubicBezTo>
                  <a:close/>
                  <a:moveTo>
                    <a:pt x="325" y="206"/>
                  </a:moveTo>
                  <a:cubicBezTo>
                    <a:pt x="322" y="208"/>
                    <a:pt x="318" y="210"/>
                    <a:pt x="315" y="214"/>
                  </a:cubicBezTo>
                  <a:cubicBezTo>
                    <a:pt x="312" y="217"/>
                    <a:pt x="309" y="221"/>
                    <a:pt x="308" y="224"/>
                  </a:cubicBezTo>
                  <a:cubicBezTo>
                    <a:pt x="307" y="227"/>
                    <a:pt x="308" y="230"/>
                    <a:pt x="309" y="232"/>
                  </a:cubicBezTo>
                  <a:cubicBezTo>
                    <a:pt x="311" y="234"/>
                    <a:pt x="314" y="235"/>
                    <a:pt x="316" y="234"/>
                  </a:cubicBezTo>
                  <a:cubicBezTo>
                    <a:pt x="320" y="234"/>
                    <a:pt x="325" y="231"/>
                    <a:pt x="329" y="227"/>
                  </a:cubicBezTo>
                  <a:cubicBezTo>
                    <a:pt x="333" y="223"/>
                    <a:pt x="336" y="218"/>
                    <a:pt x="337" y="213"/>
                  </a:cubicBezTo>
                  <a:cubicBezTo>
                    <a:pt x="337" y="209"/>
                    <a:pt x="336" y="207"/>
                    <a:pt x="335" y="206"/>
                  </a:cubicBezTo>
                  <a:cubicBezTo>
                    <a:pt x="333" y="204"/>
                    <a:pt x="330" y="204"/>
                    <a:pt x="325" y="206"/>
                  </a:cubicBezTo>
                  <a:close/>
                  <a:moveTo>
                    <a:pt x="318" y="135"/>
                  </a:moveTo>
                  <a:cubicBezTo>
                    <a:pt x="317" y="137"/>
                    <a:pt x="315" y="140"/>
                    <a:pt x="314" y="142"/>
                  </a:cubicBezTo>
                  <a:cubicBezTo>
                    <a:pt x="312" y="144"/>
                    <a:pt x="312" y="147"/>
                    <a:pt x="311" y="149"/>
                  </a:cubicBezTo>
                  <a:cubicBezTo>
                    <a:pt x="311" y="152"/>
                    <a:pt x="313" y="155"/>
                    <a:pt x="317" y="155"/>
                  </a:cubicBezTo>
                  <a:cubicBezTo>
                    <a:pt x="319" y="155"/>
                    <a:pt x="321" y="154"/>
                    <a:pt x="323" y="153"/>
                  </a:cubicBezTo>
                  <a:cubicBezTo>
                    <a:pt x="325" y="151"/>
                    <a:pt x="328" y="149"/>
                    <a:pt x="330" y="147"/>
                  </a:cubicBezTo>
                  <a:cubicBezTo>
                    <a:pt x="332" y="145"/>
                    <a:pt x="333" y="142"/>
                    <a:pt x="335" y="140"/>
                  </a:cubicBezTo>
                  <a:cubicBezTo>
                    <a:pt x="336" y="138"/>
                    <a:pt x="337" y="135"/>
                    <a:pt x="337" y="133"/>
                  </a:cubicBezTo>
                  <a:cubicBezTo>
                    <a:pt x="337" y="130"/>
                    <a:pt x="335" y="128"/>
                    <a:pt x="331" y="128"/>
                  </a:cubicBezTo>
                  <a:cubicBezTo>
                    <a:pt x="327" y="128"/>
                    <a:pt x="322" y="131"/>
                    <a:pt x="318" y="135"/>
                  </a:cubicBezTo>
                  <a:close/>
                  <a:moveTo>
                    <a:pt x="201" y="401"/>
                  </a:moveTo>
                  <a:cubicBezTo>
                    <a:pt x="195" y="401"/>
                    <a:pt x="182" y="405"/>
                    <a:pt x="176" y="410"/>
                  </a:cubicBezTo>
                  <a:cubicBezTo>
                    <a:pt x="173" y="412"/>
                    <a:pt x="172" y="416"/>
                    <a:pt x="172" y="418"/>
                  </a:cubicBezTo>
                  <a:cubicBezTo>
                    <a:pt x="174" y="422"/>
                    <a:pt x="176" y="422"/>
                    <a:pt x="179" y="422"/>
                  </a:cubicBezTo>
                  <a:cubicBezTo>
                    <a:pt x="185" y="423"/>
                    <a:pt x="198" y="419"/>
                    <a:pt x="205" y="413"/>
                  </a:cubicBezTo>
                  <a:cubicBezTo>
                    <a:pt x="207" y="412"/>
                    <a:pt x="208" y="409"/>
                    <a:pt x="208" y="406"/>
                  </a:cubicBezTo>
                  <a:cubicBezTo>
                    <a:pt x="207" y="403"/>
                    <a:pt x="204" y="402"/>
                    <a:pt x="201" y="401"/>
                  </a:cubicBezTo>
                  <a:close/>
                  <a:moveTo>
                    <a:pt x="207" y="348"/>
                  </a:moveTo>
                  <a:cubicBezTo>
                    <a:pt x="201" y="348"/>
                    <a:pt x="187" y="353"/>
                    <a:pt x="182" y="358"/>
                  </a:cubicBezTo>
                  <a:cubicBezTo>
                    <a:pt x="179" y="361"/>
                    <a:pt x="177" y="364"/>
                    <a:pt x="178" y="367"/>
                  </a:cubicBezTo>
                  <a:cubicBezTo>
                    <a:pt x="180" y="371"/>
                    <a:pt x="183" y="371"/>
                    <a:pt x="186" y="371"/>
                  </a:cubicBezTo>
                  <a:cubicBezTo>
                    <a:pt x="192" y="371"/>
                    <a:pt x="206" y="367"/>
                    <a:pt x="212" y="360"/>
                  </a:cubicBezTo>
                  <a:cubicBezTo>
                    <a:pt x="214" y="358"/>
                    <a:pt x="215" y="355"/>
                    <a:pt x="215" y="352"/>
                  </a:cubicBezTo>
                  <a:cubicBezTo>
                    <a:pt x="214" y="349"/>
                    <a:pt x="210" y="348"/>
                    <a:pt x="207" y="348"/>
                  </a:cubicBezTo>
                  <a:close/>
                  <a:moveTo>
                    <a:pt x="309" y="393"/>
                  </a:moveTo>
                  <a:cubicBezTo>
                    <a:pt x="303" y="393"/>
                    <a:pt x="291" y="400"/>
                    <a:pt x="286" y="406"/>
                  </a:cubicBezTo>
                  <a:cubicBezTo>
                    <a:pt x="283" y="409"/>
                    <a:pt x="283" y="412"/>
                    <a:pt x="284" y="414"/>
                  </a:cubicBezTo>
                  <a:cubicBezTo>
                    <a:pt x="286" y="418"/>
                    <a:pt x="289" y="418"/>
                    <a:pt x="291" y="417"/>
                  </a:cubicBezTo>
                  <a:cubicBezTo>
                    <a:pt x="297" y="416"/>
                    <a:pt x="310" y="411"/>
                    <a:pt x="315" y="404"/>
                  </a:cubicBezTo>
                  <a:cubicBezTo>
                    <a:pt x="317" y="401"/>
                    <a:pt x="317" y="398"/>
                    <a:pt x="316" y="396"/>
                  </a:cubicBezTo>
                  <a:cubicBezTo>
                    <a:pt x="315" y="393"/>
                    <a:pt x="312" y="392"/>
                    <a:pt x="309" y="393"/>
                  </a:cubicBezTo>
                  <a:close/>
                  <a:moveTo>
                    <a:pt x="260" y="421"/>
                  </a:moveTo>
                  <a:cubicBezTo>
                    <a:pt x="255" y="421"/>
                    <a:pt x="243" y="425"/>
                    <a:pt x="238" y="430"/>
                  </a:cubicBezTo>
                  <a:cubicBezTo>
                    <a:pt x="235" y="432"/>
                    <a:pt x="234" y="435"/>
                    <a:pt x="235" y="437"/>
                  </a:cubicBezTo>
                  <a:cubicBezTo>
                    <a:pt x="236" y="440"/>
                    <a:pt x="239" y="440"/>
                    <a:pt x="241" y="440"/>
                  </a:cubicBezTo>
                  <a:cubicBezTo>
                    <a:pt x="247" y="440"/>
                    <a:pt x="259" y="437"/>
                    <a:pt x="264" y="431"/>
                  </a:cubicBezTo>
                  <a:cubicBezTo>
                    <a:pt x="266" y="429"/>
                    <a:pt x="267" y="427"/>
                    <a:pt x="266" y="424"/>
                  </a:cubicBezTo>
                  <a:cubicBezTo>
                    <a:pt x="266" y="422"/>
                    <a:pt x="263" y="421"/>
                    <a:pt x="260" y="421"/>
                  </a:cubicBezTo>
                  <a:close/>
                  <a:moveTo>
                    <a:pt x="149" y="419"/>
                  </a:moveTo>
                  <a:cubicBezTo>
                    <a:pt x="146" y="419"/>
                    <a:pt x="140" y="420"/>
                    <a:pt x="135" y="423"/>
                  </a:cubicBezTo>
                  <a:cubicBezTo>
                    <a:pt x="133" y="424"/>
                    <a:pt x="131" y="426"/>
                    <a:pt x="131" y="429"/>
                  </a:cubicBezTo>
                  <a:cubicBezTo>
                    <a:pt x="132" y="432"/>
                    <a:pt x="134" y="433"/>
                    <a:pt x="137" y="434"/>
                  </a:cubicBezTo>
                  <a:cubicBezTo>
                    <a:pt x="142" y="434"/>
                    <a:pt x="147" y="433"/>
                    <a:pt x="152" y="431"/>
                  </a:cubicBezTo>
                  <a:cubicBezTo>
                    <a:pt x="154" y="429"/>
                    <a:pt x="156" y="427"/>
                    <a:pt x="156" y="424"/>
                  </a:cubicBezTo>
                  <a:cubicBezTo>
                    <a:pt x="156" y="420"/>
                    <a:pt x="153" y="419"/>
                    <a:pt x="149" y="419"/>
                  </a:cubicBezTo>
                  <a:close/>
                  <a:moveTo>
                    <a:pt x="207" y="440"/>
                  </a:moveTo>
                  <a:cubicBezTo>
                    <a:pt x="204" y="440"/>
                    <a:pt x="199" y="441"/>
                    <a:pt x="194" y="444"/>
                  </a:cubicBezTo>
                  <a:cubicBezTo>
                    <a:pt x="192" y="446"/>
                    <a:pt x="191" y="448"/>
                    <a:pt x="191" y="450"/>
                  </a:cubicBezTo>
                  <a:cubicBezTo>
                    <a:pt x="192" y="453"/>
                    <a:pt x="194" y="455"/>
                    <a:pt x="197" y="455"/>
                  </a:cubicBezTo>
                  <a:cubicBezTo>
                    <a:pt x="201" y="455"/>
                    <a:pt x="206" y="454"/>
                    <a:pt x="210" y="451"/>
                  </a:cubicBezTo>
                  <a:cubicBezTo>
                    <a:pt x="212" y="450"/>
                    <a:pt x="214" y="447"/>
                    <a:pt x="214" y="445"/>
                  </a:cubicBezTo>
                  <a:cubicBezTo>
                    <a:pt x="213" y="441"/>
                    <a:pt x="210" y="440"/>
                    <a:pt x="207" y="440"/>
                  </a:cubicBezTo>
                  <a:close/>
                  <a:moveTo>
                    <a:pt x="257" y="144"/>
                  </a:moveTo>
                  <a:cubicBezTo>
                    <a:pt x="255" y="144"/>
                    <a:pt x="253" y="145"/>
                    <a:pt x="251" y="146"/>
                  </a:cubicBezTo>
                  <a:cubicBezTo>
                    <a:pt x="251" y="146"/>
                    <a:pt x="251" y="146"/>
                    <a:pt x="251" y="146"/>
                  </a:cubicBezTo>
                  <a:cubicBezTo>
                    <a:pt x="247" y="147"/>
                    <a:pt x="241" y="152"/>
                    <a:pt x="241" y="157"/>
                  </a:cubicBezTo>
                  <a:cubicBezTo>
                    <a:pt x="241" y="160"/>
                    <a:pt x="244" y="161"/>
                    <a:pt x="247" y="161"/>
                  </a:cubicBezTo>
                  <a:cubicBezTo>
                    <a:pt x="253" y="161"/>
                    <a:pt x="262" y="156"/>
                    <a:pt x="262" y="149"/>
                  </a:cubicBezTo>
                  <a:cubicBezTo>
                    <a:pt x="262" y="146"/>
                    <a:pt x="260" y="144"/>
                    <a:pt x="257" y="144"/>
                  </a:cubicBezTo>
                  <a:close/>
                  <a:moveTo>
                    <a:pt x="300" y="436"/>
                  </a:moveTo>
                  <a:cubicBezTo>
                    <a:pt x="296" y="436"/>
                    <a:pt x="289" y="437"/>
                    <a:pt x="284" y="441"/>
                  </a:cubicBezTo>
                  <a:cubicBezTo>
                    <a:pt x="281" y="443"/>
                    <a:pt x="279" y="446"/>
                    <a:pt x="280" y="449"/>
                  </a:cubicBezTo>
                  <a:cubicBezTo>
                    <a:pt x="281" y="452"/>
                    <a:pt x="284" y="453"/>
                    <a:pt x="288" y="453"/>
                  </a:cubicBezTo>
                  <a:cubicBezTo>
                    <a:pt x="293" y="453"/>
                    <a:pt x="300" y="451"/>
                    <a:pt x="304" y="449"/>
                  </a:cubicBezTo>
                  <a:cubicBezTo>
                    <a:pt x="307" y="447"/>
                    <a:pt x="309" y="444"/>
                    <a:pt x="308" y="441"/>
                  </a:cubicBezTo>
                  <a:cubicBezTo>
                    <a:pt x="307" y="437"/>
                    <a:pt x="303" y="436"/>
                    <a:pt x="300" y="436"/>
                  </a:cubicBezTo>
                  <a:close/>
                  <a:moveTo>
                    <a:pt x="96" y="416"/>
                  </a:moveTo>
                  <a:cubicBezTo>
                    <a:pt x="99" y="419"/>
                    <a:pt x="104" y="422"/>
                    <a:pt x="108" y="423"/>
                  </a:cubicBezTo>
                  <a:cubicBezTo>
                    <a:pt x="109" y="424"/>
                    <a:pt x="110" y="423"/>
                    <a:pt x="110" y="423"/>
                  </a:cubicBezTo>
                  <a:cubicBezTo>
                    <a:pt x="110" y="422"/>
                    <a:pt x="110" y="421"/>
                    <a:pt x="110" y="421"/>
                  </a:cubicBezTo>
                  <a:cubicBezTo>
                    <a:pt x="107" y="417"/>
                    <a:pt x="105" y="415"/>
                    <a:pt x="104" y="412"/>
                  </a:cubicBezTo>
                  <a:cubicBezTo>
                    <a:pt x="103" y="409"/>
                    <a:pt x="103" y="406"/>
                    <a:pt x="104" y="405"/>
                  </a:cubicBezTo>
                  <a:cubicBezTo>
                    <a:pt x="109" y="378"/>
                    <a:pt x="135" y="361"/>
                    <a:pt x="163" y="342"/>
                  </a:cubicBezTo>
                  <a:cubicBezTo>
                    <a:pt x="180" y="330"/>
                    <a:pt x="253" y="290"/>
                    <a:pt x="286" y="263"/>
                  </a:cubicBezTo>
                  <a:cubicBezTo>
                    <a:pt x="297" y="255"/>
                    <a:pt x="301" y="250"/>
                    <a:pt x="301" y="245"/>
                  </a:cubicBezTo>
                  <a:cubicBezTo>
                    <a:pt x="302" y="243"/>
                    <a:pt x="301" y="240"/>
                    <a:pt x="299" y="239"/>
                  </a:cubicBezTo>
                  <a:cubicBezTo>
                    <a:pt x="298" y="238"/>
                    <a:pt x="297" y="237"/>
                    <a:pt x="295" y="237"/>
                  </a:cubicBezTo>
                  <a:cubicBezTo>
                    <a:pt x="290" y="236"/>
                    <a:pt x="283" y="238"/>
                    <a:pt x="276" y="244"/>
                  </a:cubicBezTo>
                  <a:cubicBezTo>
                    <a:pt x="238" y="275"/>
                    <a:pt x="180" y="305"/>
                    <a:pt x="140" y="337"/>
                  </a:cubicBezTo>
                  <a:cubicBezTo>
                    <a:pt x="116" y="355"/>
                    <a:pt x="99" y="375"/>
                    <a:pt x="94" y="395"/>
                  </a:cubicBezTo>
                  <a:cubicBezTo>
                    <a:pt x="94" y="395"/>
                    <a:pt x="93" y="394"/>
                    <a:pt x="93" y="394"/>
                  </a:cubicBezTo>
                  <a:cubicBezTo>
                    <a:pt x="99" y="319"/>
                    <a:pt x="198" y="269"/>
                    <a:pt x="250" y="227"/>
                  </a:cubicBezTo>
                  <a:cubicBezTo>
                    <a:pt x="262" y="216"/>
                    <a:pt x="301" y="186"/>
                    <a:pt x="307" y="172"/>
                  </a:cubicBezTo>
                  <a:cubicBezTo>
                    <a:pt x="309" y="168"/>
                    <a:pt x="308" y="163"/>
                    <a:pt x="306" y="162"/>
                  </a:cubicBezTo>
                  <a:cubicBezTo>
                    <a:pt x="303" y="160"/>
                    <a:pt x="301" y="160"/>
                    <a:pt x="298" y="160"/>
                  </a:cubicBezTo>
                  <a:cubicBezTo>
                    <a:pt x="292" y="162"/>
                    <a:pt x="285" y="167"/>
                    <a:pt x="277" y="175"/>
                  </a:cubicBezTo>
                  <a:cubicBezTo>
                    <a:pt x="213" y="235"/>
                    <a:pt x="161" y="262"/>
                    <a:pt x="125" y="300"/>
                  </a:cubicBezTo>
                  <a:cubicBezTo>
                    <a:pt x="105" y="322"/>
                    <a:pt x="90" y="347"/>
                    <a:pt x="81" y="383"/>
                  </a:cubicBezTo>
                  <a:cubicBezTo>
                    <a:pt x="81" y="383"/>
                    <a:pt x="80" y="382"/>
                    <a:pt x="80" y="382"/>
                  </a:cubicBezTo>
                  <a:cubicBezTo>
                    <a:pt x="83" y="327"/>
                    <a:pt x="118" y="273"/>
                    <a:pt x="160" y="235"/>
                  </a:cubicBezTo>
                  <a:cubicBezTo>
                    <a:pt x="175" y="222"/>
                    <a:pt x="185" y="214"/>
                    <a:pt x="191" y="209"/>
                  </a:cubicBezTo>
                  <a:cubicBezTo>
                    <a:pt x="195" y="205"/>
                    <a:pt x="197" y="200"/>
                    <a:pt x="194" y="195"/>
                  </a:cubicBezTo>
                  <a:cubicBezTo>
                    <a:pt x="192" y="192"/>
                    <a:pt x="188" y="191"/>
                    <a:pt x="184" y="192"/>
                  </a:cubicBezTo>
                  <a:cubicBezTo>
                    <a:pt x="178" y="193"/>
                    <a:pt x="174" y="196"/>
                    <a:pt x="170" y="199"/>
                  </a:cubicBezTo>
                  <a:cubicBezTo>
                    <a:pt x="140" y="223"/>
                    <a:pt x="115" y="252"/>
                    <a:pt x="97" y="285"/>
                  </a:cubicBezTo>
                  <a:cubicBezTo>
                    <a:pt x="83" y="311"/>
                    <a:pt x="72" y="339"/>
                    <a:pt x="68" y="369"/>
                  </a:cubicBezTo>
                  <a:cubicBezTo>
                    <a:pt x="67" y="369"/>
                    <a:pt x="67" y="368"/>
                    <a:pt x="66" y="367"/>
                  </a:cubicBezTo>
                  <a:cubicBezTo>
                    <a:pt x="70" y="284"/>
                    <a:pt x="108" y="222"/>
                    <a:pt x="162" y="174"/>
                  </a:cubicBezTo>
                  <a:cubicBezTo>
                    <a:pt x="175" y="162"/>
                    <a:pt x="186" y="155"/>
                    <a:pt x="200" y="144"/>
                  </a:cubicBezTo>
                  <a:cubicBezTo>
                    <a:pt x="210" y="136"/>
                    <a:pt x="212" y="129"/>
                    <a:pt x="210" y="124"/>
                  </a:cubicBezTo>
                  <a:cubicBezTo>
                    <a:pt x="207" y="120"/>
                    <a:pt x="202" y="120"/>
                    <a:pt x="197" y="122"/>
                  </a:cubicBezTo>
                  <a:cubicBezTo>
                    <a:pt x="185" y="125"/>
                    <a:pt x="174" y="136"/>
                    <a:pt x="159" y="149"/>
                  </a:cubicBezTo>
                  <a:cubicBezTo>
                    <a:pt x="126" y="179"/>
                    <a:pt x="99" y="211"/>
                    <a:pt x="80" y="250"/>
                  </a:cubicBezTo>
                  <a:cubicBezTo>
                    <a:pt x="66" y="279"/>
                    <a:pt x="58" y="313"/>
                    <a:pt x="55" y="353"/>
                  </a:cubicBezTo>
                  <a:cubicBezTo>
                    <a:pt x="55" y="352"/>
                    <a:pt x="54" y="351"/>
                    <a:pt x="54" y="351"/>
                  </a:cubicBezTo>
                  <a:cubicBezTo>
                    <a:pt x="53" y="341"/>
                    <a:pt x="53" y="328"/>
                    <a:pt x="54" y="318"/>
                  </a:cubicBezTo>
                  <a:cubicBezTo>
                    <a:pt x="57" y="279"/>
                    <a:pt x="63" y="197"/>
                    <a:pt x="174" y="106"/>
                  </a:cubicBezTo>
                  <a:cubicBezTo>
                    <a:pt x="194" y="90"/>
                    <a:pt x="227" y="71"/>
                    <a:pt x="251" y="59"/>
                  </a:cubicBezTo>
                  <a:cubicBezTo>
                    <a:pt x="258" y="55"/>
                    <a:pt x="265" y="52"/>
                    <a:pt x="271" y="48"/>
                  </a:cubicBezTo>
                  <a:cubicBezTo>
                    <a:pt x="275" y="45"/>
                    <a:pt x="278" y="41"/>
                    <a:pt x="276" y="37"/>
                  </a:cubicBezTo>
                  <a:cubicBezTo>
                    <a:pt x="275" y="33"/>
                    <a:pt x="272" y="33"/>
                    <a:pt x="268" y="33"/>
                  </a:cubicBezTo>
                  <a:cubicBezTo>
                    <a:pt x="260" y="33"/>
                    <a:pt x="254" y="36"/>
                    <a:pt x="248" y="39"/>
                  </a:cubicBezTo>
                  <a:cubicBezTo>
                    <a:pt x="196" y="65"/>
                    <a:pt x="136" y="103"/>
                    <a:pt x="95" y="161"/>
                  </a:cubicBezTo>
                  <a:cubicBezTo>
                    <a:pt x="63" y="205"/>
                    <a:pt x="41" y="260"/>
                    <a:pt x="40" y="329"/>
                  </a:cubicBezTo>
                  <a:cubicBezTo>
                    <a:pt x="40" y="328"/>
                    <a:pt x="40" y="328"/>
                    <a:pt x="39" y="327"/>
                  </a:cubicBezTo>
                  <a:cubicBezTo>
                    <a:pt x="37" y="310"/>
                    <a:pt x="36" y="293"/>
                    <a:pt x="36" y="281"/>
                  </a:cubicBezTo>
                  <a:cubicBezTo>
                    <a:pt x="38" y="172"/>
                    <a:pt x="102" y="97"/>
                    <a:pt x="190" y="45"/>
                  </a:cubicBezTo>
                  <a:cubicBezTo>
                    <a:pt x="198" y="41"/>
                    <a:pt x="205" y="36"/>
                    <a:pt x="205" y="29"/>
                  </a:cubicBezTo>
                  <a:cubicBezTo>
                    <a:pt x="205" y="25"/>
                    <a:pt x="202" y="23"/>
                    <a:pt x="198" y="23"/>
                  </a:cubicBezTo>
                  <a:cubicBezTo>
                    <a:pt x="194" y="23"/>
                    <a:pt x="191" y="24"/>
                    <a:pt x="184" y="27"/>
                  </a:cubicBezTo>
                  <a:cubicBezTo>
                    <a:pt x="131" y="56"/>
                    <a:pt x="87" y="96"/>
                    <a:pt x="58" y="145"/>
                  </a:cubicBezTo>
                  <a:cubicBezTo>
                    <a:pt x="35" y="186"/>
                    <a:pt x="22" y="234"/>
                    <a:pt x="24" y="287"/>
                  </a:cubicBezTo>
                  <a:cubicBezTo>
                    <a:pt x="24" y="286"/>
                    <a:pt x="23" y="285"/>
                    <a:pt x="23" y="283"/>
                  </a:cubicBezTo>
                  <a:cubicBezTo>
                    <a:pt x="18" y="266"/>
                    <a:pt x="16" y="248"/>
                    <a:pt x="16" y="230"/>
                  </a:cubicBezTo>
                  <a:cubicBezTo>
                    <a:pt x="16" y="205"/>
                    <a:pt x="21" y="181"/>
                    <a:pt x="29" y="159"/>
                  </a:cubicBezTo>
                  <a:cubicBezTo>
                    <a:pt x="40" y="130"/>
                    <a:pt x="57" y="103"/>
                    <a:pt x="78" y="80"/>
                  </a:cubicBezTo>
                  <a:cubicBezTo>
                    <a:pt x="85" y="73"/>
                    <a:pt x="99" y="61"/>
                    <a:pt x="103" y="57"/>
                  </a:cubicBezTo>
                  <a:cubicBezTo>
                    <a:pt x="106" y="53"/>
                    <a:pt x="108" y="49"/>
                    <a:pt x="106" y="46"/>
                  </a:cubicBezTo>
                  <a:cubicBezTo>
                    <a:pt x="105" y="44"/>
                    <a:pt x="103" y="43"/>
                    <a:pt x="100" y="43"/>
                  </a:cubicBezTo>
                  <a:cubicBezTo>
                    <a:pt x="88" y="43"/>
                    <a:pt x="70" y="61"/>
                    <a:pt x="62" y="69"/>
                  </a:cubicBezTo>
                  <a:cubicBezTo>
                    <a:pt x="23" y="112"/>
                    <a:pt x="0" y="168"/>
                    <a:pt x="0" y="226"/>
                  </a:cubicBezTo>
                  <a:cubicBezTo>
                    <a:pt x="0" y="295"/>
                    <a:pt x="29" y="367"/>
                    <a:pt x="96" y="416"/>
                  </a:cubicBezTo>
                  <a:close/>
                  <a:moveTo>
                    <a:pt x="168" y="9"/>
                  </a:moveTo>
                  <a:cubicBezTo>
                    <a:pt x="167" y="8"/>
                    <a:pt x="166" y="7"/>
                    <a:pt x="163" y="7"/>
                  </a:cubicBezTo>
                  <a:cubicBezTo>
                    <a:pt x="157" y="7"/>
                    <a:pt x="150" y="10"/>
                    <a:pt x="148" y="14"/>
                  </a:cubicBezTo>
                  <a:cubicBezTo>
                    <a:pt x="148" y="15"/>
                    <a:pt x="147" y="17"/>
                    <a:pt x="148" y="18"/>
                  </a:cubicBezTo>
                  <a:cubicBezTo>
                    <a:pt x="148" y="20"/>
                    <a:pt x="149" y="20"/>
                    <a:pt x="151" y="20"/>
                  </a:cubicBezTo>
                  <a:cubicBezTo>
                    <a:pt x="156" y="21"/>
                    <a:pt x="164" y="18"/>
                    <a:pt x="167" y="14"/>
                  </a:cubicBezTo>
                  <a:cubicBezTo>
                    <a:pt x="168" y="13"/>
                    <a:pt x="169" y="11"/>
                    <a:pt x="16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4D4F5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857728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lors to be used in the presentation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040191" y="1634491"/>
            <a:ext cx="3048000" cy="685800"/>
          </a:xfrm>
          <a:prstGeom prst="roundRect">
            <a:avLst/>
          </a:prstGeom>
          <a:solidFill>
            <a:srgbClr val="A719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167.25.48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040191" y="2493645"/>
            <a:ext cx="3048000" cy="685800"/>
          </a:xfrm>
          <a:prstGeom prst="roundRect">
            <a:avLst/>
          </a:prstGeom>
          <a:solidFill>
            <a:srgbClr val="E37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227.114.34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368800" y="1634491"/>
            <a:ext cx="3048000" cy="685800"/>
          </a:xfrm>
          <a:prstGeom prst="roundRect">
            <a:avLst/>
          </a:prstGeom>
          <a:solidFill>
            <a:srgbClr val="C7D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4D4F53"/>
                </a:solidFill>
                <a:cs typeface="Arial" pitchFamily="34" charset="0"/>
              </a:rPr>
              <a:t>RGB - 199.210.138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368800" y="2493645"/>
            <a:ext cx="3048000" cy="685800"/>
          </a:xfrm>
          <a:prstGeom prst="roundRect">
            <a:avLst/>
          </a:prstGeom>
          <a:solidFill>
            <a:srgbClr val="0066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– 0.102.161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368800" y="3352800"/>
            <a:ext cx="3048000" cy="685800"/>
          </a:xfrm>
          <a:prstGeom prst="roundRect">
            <a:avLst/>
          </a:prstGeom>
          <a:solidFill>
            <a:srgbClr val="4D4F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77.79.83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040191" y="3320143"/>
            <a:ext cx="3048000" cy="685800"/>
          </a:xfrm>
          <a:prstGeom prst="roundRect">
            <a:avLst/>
          </a:prstGeom>
          <a:solidFill>
            <a:srgbClr val="830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131.0.8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98222" y="5029200"/>
            <a:ext cx="339868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4D4F53"/>
                </a:solidFill>
                <a:cs typeface="Arial" pitchFamily="34" charset="0"/>
              </a:rPr>
              <a:t>Guidelines available at </a:t>
            </a:r>
          </a:p>
          <a:p>
            <a:endParaRPr lang="en-US" sz="1400" dirty="0">
              <a:solidFill>
                <a:srgbClr val="4D4F53"/>
              </a:solidFill>
              <a:cs typeface="Arial" pitchFamily="34" charset="0"/>
            </a:endParaRPr>
          </a:p>
          <a:p>
            <a:r>
              <a:rPr lang="en-US" sz="1400" dirty="0">
                <a:solidFill>
                  <a:srgbClr val="4D4F53"/>
                </a:solidFill>
                <a:cs typeface="Arial" pitchFamily="34" charset="0"/>
              </a:rPr>
              <a:t>PeopleHub &gt; Microsites &gt;Marketing Hub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2006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85" y="1371601"/>
            <a:ext cx="10972800" cy="1637371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840"/>
              </a:spcBef>
              <a:defRPr sz="1800"/>
            </a:lvl1pPr>
            <a:lvl2pPr>
              <a:lnSpc>
                <a:spcPct val="120000"/>
              </a:lnSpc>
              <a:spcBef>
                <a:spcPts val="840"/>
              </a:spcBef>
              <a:defRPr sz="1800"/>
            </a:lvl2pPr>
            <a:lvl3pPr marL="457189" indent="-228594">
              <a:lnSpc>
                <a:spcPct val="120000"/>
              </a:lnSpc>
              <a:spcBef>
                <a:spcPts val="840"/>
              </a:spcBef>
              <a:buSzPct val="80000"/>
              <a:buFont typeface="Arial" panose="020B0604020202020204" pitchFamily="34" charset="0"/>
              <a:buChar char="–"/>
              <a:defRPr sz="1800"/>
            </a:lvl3pPr>
            <a:lvl4pPr>
              <a:lnSpc>
                <a:spcPct val="120000"/>
              </a:lnSpc>
              <a:spcBef>
                <a:spcPts val="840"/>
              </a:spcBef>
              <a:defRPr sz="1800"/>
            </a:lvl4pPr>
            <a:lvl5pPr>
              <a:lnSpc>
                <a:spcPct val="120000"/>
              </a:lnSpc>
              <a:spcBef>
                <a:spcPts val="840"/>
              </a:spcBef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202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2843" y="2209800"/>
            <a:ext cx="6908800" cy="6397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ection header 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12192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12192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930001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384800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600201"/>
            <a:ext cx="5384800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886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35113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1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" y="2174876"/>
            <a:ext cx="5386917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9" y="1535113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1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93369" y="2174876"/>
            <a:ext cx="5389033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04232" y="6474769"/>
            <a:ext cx="1689886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540"/>
            <a:r>
              <a:rPr lang="en-US" sz="675" dirty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Confidential - for limited circulation only</a:t>
            </a:r>
          </a:p>
        </p:txBody>
      </p:sp>
    </p:spTree>
    <p:extLst>
      <p:ext uri="{BB962C8B-B14F-4D97-AF65-F5344CB8AC3E}">
        <p14:creationId xmlns:p14="http://schemas.microsoft.com/office/powerpoint/2010/main" val="31112665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1343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954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2085" y="1371601"/>
            <a:ext cx="10972800" cy="1637371"/>
          </a:xfrm>
        </p:spPr>
        <p:txBody>
          <a:bodyPr wrap="square">
            <a:spAutoFit/>
          </a:bodyPr>
          <a:lstStyle>
            <a:lvl1pPr>
              <a:lnSpc>
                <a:spcPct val="120000"/>
              </a:lnSpc>
              <a:spcBef>
                <a:spcPts val="840"/>
              </a:spcBef>
              <a:defRPr sz="1800"/>
            </a:lvl1pPr>
            <a:lvl2pPr>
              <a:lnSpc>
                <a:spcPct val="120000"/>
              </a:lnSpc>
              <a:spcBef>
                <a:spcPts val="840"/>
              </a:spcBef>
              <a:defRPr sz="1800"/>
            </a:lvl2pPr>
            <a:lvl3pPr marL="457189" indent="-228594">
              <a:lnSpc>
                <a:spcPct val="120000"/>
              </a:lnSpc>
              <a:spcBef>
                <a:spcPts val="840"/>
              </a:spcBef>
              <a:buSzPct val="80000"/>
              <a:buFont typeface="Arial" panose="020B0604020202020204" pitchFamily="34" charset="0"/>
              <a:buChar char="–"/>
              <a:defRPr sz="1800"/>
            </a:lvl3pPr>
            <a:lvl4pPr>
              <a:lnSpc>
                <a:spcPct val="120000"/>
              </a:lnSpc>
              <a:spcBef>
                <a:spcPts val="840"/>
              </a:spcBef>
              <a:defRPr sz="1800"/>
            </a:lvl4pPr>
            <a:lvl5pPr>
              <a:lnSpc>
                <a:spcPct val="120000"/>
              </a:lnSpc>
              <a:spcBef>
                <a:spcPts val="840"/>
              </a:spcBef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2768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66733" y="273052"/>
            <a:ext cx="6815667" cy="5853113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2100" dirty="0" smtClean="0"/>
            </a:lvl1pPr>
            <a:lvl2pPr>
              <a:defRPr lang="en-US" sz="2100" dirty="0" smtClean="0"/>
            </a:lvl2pPr>
            <a:lvl3pPr>
              <a:defRPr lang="en-US" sz="2100" dirty="0" smtClean="0"/>
            </a:lvl3pPr>
            <a:lvl4pPr>
              <a:defRPr lang="en-US" sz="2100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09602" y="1435102"/>
            <a:ext cx="4011084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6464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89717" y="4800600"/>
            <a:ext cx="7315200" cy="566739"/>
          </a:xfr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2401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10320" y="1371601"/>
            <a:ext cx="2634567" cy="163737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480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98631" y="274639"/>
            <a:ext cx="1637371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6481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200276"/>
            <a:ext cx="12192000" cy="199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879378" y="6428601"/>
            <a:ext cx="605806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540"/>
            <a:r>
              <a:rPr lang="en-US" sz="900" dirty="0">
                <a:solidFill>
                  <a:srgbClr val="898989"/>
                </a:solidFill>
                <a:cs typeface="Arial" pitchFamily="34" charset="0"/>
              </a:rPr>
              <a:t>India | USA | UK | Germany | Sweden | Belgium | France | Switzerland | UAE | Singapore | Australia | Japan | China</a:t>
            </a:r>
          </a:p>
        </p:txBody>
      </p:sp>
    </p:spTree>
    <p:extLst>
      <p:ext uri="{BB962C8B-B14F-4D97-AF65-F5344CB8AC3E}">
        <p14:creationId xmlns:p14="http://schemas.microsoft.com/office/powerpoint/2010/main" val="18795024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olors to be used in the presentation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1040191" y="1634491"/>
            <a:ext cx="3048000" cy="685800"/>
          </a:xfrm>
          <a:prstGeom prst="roundRect">
            <a:avLst/>
          </a:prstGeom>
          <a:solidFill>
            <a:srgbClr val="A719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540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167.25.48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1040191" y="2493645"/>
            <a:ext cx="3048000" cy="685800"/>
          </a:xfrm>
          <a:prstGeom prst="roundRect">
            <a:avLst/>
          </a:prstGeom>
          <a:solidFill>
            <a:srgbClr val="E372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540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227.114.34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4368800" y="1634491"/>
            <a:ext cx="3048000" cy="685800"/>
          </a:xfrm>
          <a:prstGeom prst="roundRect">
            <a:avLst/>
          </a:prstGeom>
          <a:solidFill>
            <a:srgbClr val="C7D2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540"/>
            <a:r>
              <a:rPr lang="en-US" sz="1400" dirty="0">
                <a:solidFill>
                  <a:srgbClr val="4D4F53"/>
                </a:solidFill>
                <a:cs typeface="Arial" pitchFamily="34" charset="0"/>
              </a:rPr>
              <a:t>RGB - 199.210.138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368800" y="2493645"/>
            <a:ext cx="3048000" cy="685800"/>
          </a:xfrm>
          <a:prstGeom prst="roundRect">
            <a:avLst/>
          </a:prstGeom>
          <a:solidFill>
            <a:srgbClr val="0066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540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– 0.102.161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368800" y="3352800"/>
            <a:ext cx="3048000" cy="685800"/>
          </a:xfrm>
          <a:prstGeom prst="roundRect">
            <a:avLst/>
          </a:prstGeom>
          <a:solidFill>
            <a:srgbClr val="4D4F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540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77.79.83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1040191" y="3320143"/>
            <a:ext cx="3048000" cy="685800"/>
          </a:xfrm>
          <a:prstGeom prst="roundRect">
            <a:avLst/>
          </a:prstGeom>
          <a:solidFill>
            <a:srgbClr val="8300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8540"/>
            <a:r>
              <a:rPr lang="en-US" sz="1400" dirty="0">
                <a:solidFill>
                  <a:prstClr val="white"/>
                </a:solidFill>
                <a:cs typeface="Arial" pitchFamily="34" charset="0"/>
              </a:rPr>
              <a:t>RGB - 131.0.8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98221" y="5029200"/>
            <a:ext cx="339868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540"/>
            <a:r>
              <a:rPr lang="en-US" sz="1400" dirty="0">
                <a:solidFill>
                  <a:srgbClr val="4D4F53"/>
                </a:solidFill>
                <a:cs typeface="Arial" pitchFamily="34" charset="0"/>
              </a:rPr>
              <a:t>Guidelines available at </a:t>
            </a:r>
          </a:p>
          <a:p>
            <a:pPr defTabSz="1218540"/>
            <a:endParaRPr lang="en-US" sz="1400" dirty="0">
              <a:solidFill>
                <a:srgbClr val="4D4F53"/>
              </a:solidFill>
              <a:cs typeface="Arial" pitchFamily="34" charset="0"/>
            </a:endParaRPr>
          </a:p>
          <a:p>
            <a:pPr defTabSz="1218540"/>
            <a:r>
              <a:rPr lang="en-US" sz="1400" dirty="0">
                <a:solidFill>
                  <a:srgbClr val="4D4F53"/>
                </a:solidFill>
                <a:cs typeface="Arial" pitchFamily="34" charset="0"/>
              </a:rPr>
              <a:t>PeopleHub &gt; Microsites &gt;Marketing Hub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381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2843" y="2209800"/>
            <a:ext cx="6908800" cy="6397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ection header 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12192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12192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28509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384800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600201"/>
            <a:ext cx="5384800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841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9600" y="1535113"/>
            <a:ext cx="5386917" cy="639763"/>
          </a:xfrm>
        </p:spPr>
        <p:txBody>
          <a:bodyPr anchor="b">
            <a:normAutofit/>
          </a:bodyPr>
          <a:lstStyle>
            <a:lvl1pPr marL="0" indent="0">
              <a:buNone/>
              <a:defRPr sz="21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" y="2174877"/>
            <a:ext cx="5386917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93369" y="1535113"/>
            <a:ext cx="5389033" cy="639763"/>
          </a:xfrm>
        </p:spPr>
        <p:txBody>
          <a:bodyPr anchor="b">
            <a:normAutofit/>
          </a:bodyPr>
          <a:lstStyle>
            <a:lvl1pPr marL="0" indent="0">
              <a:buNone/>
              <a:defRPr sz="21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193369" y="2174877"/>
            <a:ext cx="5389033" cy="163737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104232" y="6474769"/>
            <a:ext cx="1689886" cy="196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75" dirty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Confidential - for limited circulation only</a:t>
            </a:r>
          </a:p>
        </p:txBody>
      </p:sp>
    </p:spTree>
    <p:extLst>
      <p:ext uri="{BB962C8B-B14F-4D97-AF65-F5344CB8AC3E}">
        <p14:creationId xmlns:p14="http://schemas.microsoft.com/office/powerpoint/2010/main" val="6267311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 indent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718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304800" y="6096000"/>
            <a:ext cx="1981200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rgbClr val="4D4F53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91619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2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66733" y="273053"/>
            <a:ext cx="6815667" cy="5853113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US" sz="2100" dirty="0" smtClean="0"/>
            </a:lvl1pPr>
            <a:lvl2pPr>
              <a:defRPr lang="en-US" sz="2100" dirty="0" smtClean="0"/>
            </a:lvl2pPr>
            <a:lvl3pPr>
              <a:defRPr lang="en-US" sz="2100" dirty="0" smtClean="0"/>
            </a:lvl3pPr>
            <a:lvl4pPr>
              <a:defRPr lang="en-US" sz="2100" dirty="0" smtClean="0"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09602" y="1435102"/>
            <a:ext cx="4011084" cy="258532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074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89717" y="4800600"/>
            <a:ext cx="7315200" cy="566739"/>
          </a:xfr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6765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theme" Target="../theme/theme1.xml"/><Relationship Id="rId15" Type="http://schemas.openxmlformats.org/officeDocument/2006/relationships/image" Target="../media/image1.png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4" Type="http://schemas.openxmlformats.org/officeDocument/2006/relationships/image" Target="../media/image1.png"/><Relationship Id="rId15" Type="http://schemas.openxmlformats.org/officeDocument/2006/relationships/image" Target="../media/image2.png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2085" y="457200"/>
            <a:ext cx="10972800" cy="6397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2085" y="1371601"/>
            <a:ext cx="10972800" cy="16373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221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9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0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2CF02FA9-8CAD-4C87-B028-31481A2E052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221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5" descr="D:\MT - Marketing\Corporate\Brand Council\VI\Final Guidelines\MT_Logo_Artwork\Regular_Size\RGB\Positive\MT_Logo_Reg_Full_Pos_RGB.png"/>
          <p:cNvPicPr>
            <a:picLocks noChangeAspect="1" noChangeArrowheads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9599" y="6330949"/>
            <a:ext cx="1578504" cy="377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8031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  <p:sldLayoutId id="2147483906" r:id="rId12"/>
    <p:sldLayoutId id="2147483907" r:id="rId13"/>
  </p:sldLayoutIdLst>
  <p:hf hdr="0" ftr="0" dt="0"/>
  <p:txStyles>
    <p:titleStyle>
      <a:lvl1pPr marL="1588" indent="0" algn="l" defTabSz="914377" rtl="0" eaLnBrk="1" latinLnBrk="0" hangingPunct="1">
        <a:spcBef>
          <a:spcPct val="0"/>
        </a:spcBef>
        <a:buNone/>
        <a:defRPr sz="2700" kern="1200">
          <a:solidFill>
            <a:srgbClr val="6E267B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4D4F53"/>
        </a:buClr>
        <a:buSzPct val="110000"/>
        <a:buFontTx/>
        <a:buNone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1pPr>
      <a:lvl2pPr marL="228594" indent="-228594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Font typeface="Arial" pitchFamily="34" charset="0"/>
        <a:buChar char="•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2pPr>
      <a:lvl3pPr marL="457189" indent="-228594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SzPct val="90000"/>
        <a:buFont typeface="Wingdings" pitchFamily="2" charset="2"/>
        <a:buChar char="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3pPr>
      <a:lvl4pPr marL="685783" indent="-230182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SzPct val="100000"/>
        <a:buFont typeface="Wingdings" pitchFamily="2" charset="2"/>
        <a:buChar char="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">
          <p15:clr>
            <a:srgbClr val="F26B43"/>
          </p15:clr>
        </p15:guide>
        <p15:guide id="3" pos="547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2085" y="457200"/>
            <a:ext cx="10972800" cy="639763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2085" y="1371601"/>
            <a:ext cx="10972800" cy="16373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>
              <a:buSzPct val="80000"/>
              <a:buFont typeface="Arial" panose="020B0604020202020204" pitchFamily="34" charset="0"/>
              <a:buChar char="–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221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9878"/>
            <a:ext cx="2844800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1218540"/>
            <a:fld id="{6B1AB395-38E6-4B95-819F-EA717C9E08FB}" type="slidenum">
              <a:rPr lang="en-US" smtClean="0">
                <a:solidFill>
                  <a:srgbClr val="4D4F53">
                    <a:tint val="75000"/>
                  </a:srgbClr>
                </a:solidFill>
              </a:rPr>
              <a:pPr defTabSz="1218540"/>
              <a:t>‹#›</a:t>
            </a:fld>
            <a:endParaRPr lang="en-US" dirty="0">
              <a:solidFill>
                <a:srgbClr val="4D4F53">
                  <a:tint val="75000"/>
                </a:srgbClr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221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4634916" y="6474768"/>
            <a:ext cx="219162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8540"/>
            <a:r>
              <a:rPr lang="en-US" sz="900" dirty="0">
                <a:solidFill>
                  <a:prstClr val="white">
                    <a:lumMod val="65000"/>
                  </a:prstClr>
                </a:solidFill>
                <a:cs typeface="Arial" pitchFamily="34" charset="0"/>
              </a:rPr>
              <a:t>Confidential - for limited circulation only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7"/>
            <a:ext cx="12192000" cy="221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5" descr="D:\MT - Marketing\Corporate\Brand Council\VI\Final Guidelines\MT_Logo_Artwork\Regular_Size\RGB\Positive\MT_Logo_Reg_Full_Pos_RGB.png"/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9618" y="6379281"/>
            <a:ext cx="1352551" cy="323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070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9" r:id="rId1"/>
    <p:sldLayoutId id="2147483910" r:id="rId2"/>
    <p:sldLayoutId id="2147483911" r:id="rId3"/>
    <p:sldLayoutId id="2147483912" r:id="rId4"/>
    <p:sldLayoutId id="2147483913" r:id="rId5"/>
    <p:sldLayoutId id="2147483914" r:id="rId6"/>
    <p:sldLayoutId id="2147483915" r:id="rId7"/>
    <p:sldLayoutId id="2147483916" r:id="rId8"/>
    <p:sldLayoutId id="2147483917" r:id="rId9"/>
    <p:sldLayoutId id="2147483918" r:id="rId10"/>
    <p:sldLayoutId id="2147483919" r:id="rId11"/>
    <p:sldLayoutId id="2147483920" r:id="rId12"/>
  </p:sldLayoutIdLst>
  <p:hf hdr="0" ftr="0" dt="0"/>
  <p:txStyles>
    <p:titleStyle>
      <a:lvl1pPr marL="1588" indent="0" algn="l" defTabSz="914377" rtl="0" eaLnBrk="1" latinLnBrk="0" hangingPunct="1">
        <a:spcBef>
          <a:spcPct val="0"/>
        </a:spcBef>
        <a:buNone/>
        <a:defRPr sz="2667" kern="1200">
          <a:solidFill>
            <a:srgbClr val="6E267B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4D4F53"/>
        </a:buClr>
        <a:buSzPct val="110000"/>
        <a:buFontTx/>
        <a:buNone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1pPr>
      <a:lvl2pPr marL="228594" indent="-228594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Font typeface="Arial" pitchFamily="34" charset="0"/>
        <a:buChar char="•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2pPr>
      <a:lvl3pPr marL="457189" indent="-228594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SzPct val="90000"/>
        <a:buFont typeface="Wingdings" pitchFamily="2" charset="2"/>
        <a:buChar char="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3pPr>
      <a:lvl4pPr marL="685783" indent="-230182" algn="l" defTabSz="914377" rtl="0" eaLnBrk="1" latinLnBrk="0" hangingPunct="1">
        <a:lnSpc>
          <a:spcPct val="120000"/>
        </a:lnSpc>
        <a:spcBef>
          <a:spcPts val="840"/>
        </a:spcBef>
        <a:spcAft>
          <a:spcPts val="0"/>
        </a:spcAft>
        <a:buClr>
          <a:srgbClr val="6E267B"/>
        </a:buClr>
        <a:buSzPct val="100000"/>
        <a:buFont typeface="Wingdings" pitchFamily="2" charset="2"/>
        <a:buChar char=""/>
        <a:defRPr lang="en-US" sz="1800" kern="1200" dirty="0" smtClean="0">
          <a:solidFill>
            <a:srgbClr val="4D4F53"/>
          </a:solidFill>
          <a:latin typeface="Arial" pitchFamily="34" charset="0"/>
          <a:ea typeface="+mn-ea"/>
          <a:cs typeface="Arial" pitchFamily="34" charset="0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>
          <p15:clr>
            <a:srgbClr val="F26B43"/>
          </p15:clr>
        </p15:guide>
        <p15:guide id="2" pos="288">
          <p15:clr>
            <a:srgbClr val="F26B43"/>
          </p15:clr>
        </p15:guide>
        <p15:guide id="3" pos="54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image" Target="../media/image9.jpg"/><Relationship Id="rId5" Type="http://schemas.openxmlformats.org/officeDocument/2006/relationships/image" Target="../media/image10.png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 flip="none" rotWithShape="1">
          <a:gsLst>
            <a:gs pos="0">
              <a:schemeClr val="accent3"/>
            </a:gs>
            <a:gs pos="100000">
              <a:schemeClr val="accent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656" y="2740226"/>
            <a:ext cx="12163344" cy="783159"/>
          </a:xfrm>
          <a:prstGeom prst="rect">
            <a:avLst/>
          </a:prstGeom>
          <a:solidFill>
            <a:schemeClr val="bg1"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/>
            <a:endParaRPr lang="en-US" sz="1400" dirty="0">
              <a:solidFill>
                <a:srgbClr val="4D4F53"/>
              </a:solidFill>
              <a:cs typeface="Arial" pitchFamily="34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8904000" y="5281676"/>
            <a:ext cx="110799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KING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0000" y="5593470"/>
            <a:ext cx="2736000" cy="675117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1337504" y="6160447"/>
            <a:ext cx="73449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EAL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966069" y="2880422"/>
            <a:ext cx="10768731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67" b="1" dirty="0" err="1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radeSmart</a:t>
            </a:r>
            <a:r>
              <a:rPr lang="en-US" sz="2667" b="1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– Driving Positive Trade Spend ROI</a:t>
            </a:r>
          </a:p>
        </p:txBody>
      </p:sp>
      <p:sp>
        <p:nvSpPr>
          <p:cNvPr id="10" name="Subtitle 5"/>
          <p:cNvSpPr txBox="1">
            <a:spLocks/>
          </p:cNvSpPr>
          <p:nvPr/>
        </p:nvSpPr>
        <p:spPr>
          <a:xfrm>
            <a:off x="711200" y="3864837"/>
            <a:ext cx="7721600" cy="457200"/>
          </a:xfrm>
          <a:prstGeom prst="rect">
            <a:avLst/>
          </a:prstGeom>
        </p:spPr>
        <p:txBody>
          <a:bodyPr/>
          <a:lstStyle>
            <a:lvl1pPr marL="463550" indent="-238125" algn="l" defTabSz="914400" rtl="0" eaLnBrk="1" latinLnBrk="0" hangingPunct="1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4D4F53"/>
              </a:buClr>
              <a:buSzPct val="110000"/>
              <a:buFont typeface="Arial" pitchFamily="34" charset="0"/>
              <a:buChar char="•"/>
              <a:defRPr sz="1800" kern="1200">
                <a:solidFill>
                  <a:srgbClr val="4D4F53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79400" algn="l" defTabSz="914400" rtl="0" eaLnBrk="1" latinLnBrk="0" hangingPunct="1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 sz="1800" kern="1200">
                <a:solidFill>
                  <a:srgbClr val="4D4F53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30288" indent="-284163" algn="l" defTabSz="914400" rtl="0" eaLnBrk="1" latinLnBrk="0" hangingPunct="1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 sz="1800" kern="1200">
                <a:solidFill>
                  <a:srgbClr val="4D4F53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06513" indent="-279400" algn="l" defTabSz="914400" rtl="0" eaLnBrk="1" latinLnBrk="0" hangingPunct="1">
              <a:lnSpc>
                <a:spcPct val="120000"/>
              </a:lnSpc>
              <a:spcBef>
                <a:spcPts val="840"/>
              </a:spcBef>
              <a:spcAft>
                <a:spcPts val="0"/>
              </a:spcAft>
              <a:buClr>
                <a:srgbClr val="6E267B"/>
              </a:buClr>
              <a:buFont typeface="Arial" pitchFamily="34" charset="0"/>
              <a:buChar char="•"/>
              <a:defRPr sz="1800" kern="1200">
                <a:solidFill>
                  <a:srgbClr val="4D4F53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5420" indent="0">
              <a:buNone/>
            </a:pPr>
            <a:r>
              <a:rPr lang="en-US" dirty="0">
                <a:solidFill>
                  <a:prstClr val="white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ovember 8, 2018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015563" y="3650665"/>
            <a:ext cx="7721600" cy="544091"/>
          </a:xfrm>
          <a:prstGeom prst="rect">
            <a:avLst/>
          </a:prstGeom>
        </p:spPr>
        <p:txBody>
          <a:bodyPr>
            <a:normAutofit/>
          </a:bodyPr>
          <a:lstStyle>
            <a:lvl1pPr marL="176213" indent="0" algn="l" defTabSz="914400" rtl="0" eaLnBrk="1" latinLnBrk="0" hangingPunct="1">
              <a:spcBef>
                <a:spcPct val="0"/>
              </a:spcBef>
              <a:buNone/>
              <a:defRPr sz="2700" kern="1200">
                <a:solidFill>
                  <a:srgbClr val="6E267B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2800" b="1" dirty="0">
              <a:solidFill>
                <a:prstClr val="white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806235" y="690298"/>
            <a:ext cx="2890555" cy="903372"/>
            <a:chOff x="-2071823" y="1292225"/>
            <a:chExt cx="8245475" cy="2555876"/>
          </a:xfrm>
        </p:grpSpPr>
        <p:sp>
          <p:nvSpPr>
            <p:cNvPr id="13" name="Freeform 5"/>
            <p:cNvSpPr>
              <a:spLocks noEditPoints="1"/>
            </p:cNvSpPr>
            <p:nvPr/>
          </p:nvSpPr>
          <p:spPr bwMode="auto">
            <a:xfrm>
              <a:off x="191950" y="1638301"/>
              <a:ext cx="4986339" cy="1023937"/>
            </a:xfrm>
            <a:custGeom>
              <a:avLst/>
              <a:gdLst>
                <a:gd name="T0" fmla="*/ 1038 w 1328"/>
                <a:gd name="T1" fmla="*/ 188 h 272"/>
                <a:gd name="T2" fmla="*/ 1125 w 1328"/>
                <a:gd name="T3" fmla="*/ 235 h 272"/>
                <a:gd name="T4" fmla="*/ 1136 w 1328"/>
                <a:gd name="T5" fmla="*/ 259 h 272"/>
                <a:gd name="T6" fmla="*/ 1006 w 1328"/>
                <a:gd name="T7" fmla="*/ 164 h 272"/>
                <a:gd name="T8" fmla="*/ 1149 w 1328"/>
                <a:gd name="T9" fmla="*/ 175 h 272"/>
                <a:gd name="T10" fmla="*/ 1038 w 1328"/>
                <a:gd name="T11" fmla="*/ 159 h 272"/>
                <a:gd name="T12" fmla="*/ 1119 w 1328"/>
                <a:gd name="T13" fmla="*/ 156 h 272"/>
                <a:gd name="T14" fmla="*/ 1216 w 1328"/>
                <a:gd name="T15" fmla="*/ 188 h 272"/>
                <a:gd name="T16" fmla="*/ 1303 w 1328"/>
                <a:gd name="T17" fmla="*/ 235 h 272"/>
                <a:gd name="T18" fmla="*/ 1314 w 1328"/>
                <a:gd name="T19" fmla="*/ 259 h 272"/>
                <a:gd name="T20" fmla="*/ 1184 w 1328"/>
                <a:gd name="T21" fmla="*/ 164 h 272"/>
                <a:gd name="T22" fmla="*/ 1328 w 1328"/>
                <a:gd name="T23" fmla="*/ 175 h 272"/>
                <a:gd name="T24" fmla="*/ 1216 w 1328"/>
                <a:gd name="T25" fmla="*/ 159 h 272"/>
                <a:gd name="T26" fmla="*/ 1297 w 1328"/>
                <a:gd name="T27" fmla="*/ 156 h 272"/>
                <a:gd name="T28" fmla="*/ 194 w 1328"/>
                <a:gd name="T29" fmla="*/ 9 h 272"/>
                <a:gd name="T30" fmla="*/ 15 w 1328"/>
                <a:gd name="T31" fmla="*/ 0 h 272"/>
                <a:gd name="T32" fmla="*/ 15 w 1328"/>
                <a:gd name="T33" fmla="*/ 272 h 272"/>
                <a:gd name="T34" fmla="*/ 97 w 1328"/>
                <a:gd name="T35" fmla="*/ 217 h 272"/>
                <a:gd name="T36" fmla="*/ 194 w 1328"/>
                <a:gd name="T37" fmla="*/ 73 h 272"/>
                <a:gd name="T38" fmla="*/ 225 w 1328"/>
                <a:gd name="T39" fmla="*/ 257 h 272"/>
                <a:gd name="T40" fmla="*/ 297 w 1328"/>
                <a:gd name="T41" fmla="*/ 7 h 272"/>
                <a:gd name="T42" fmla="*/ 316 w 1328"/>
                <a:gd name="T43" fmla="*/ 26 h 272"/>
                <a:gd name="T44" fmla="*/ 297 w 1328"/>
                <a:gd name="T45" fmla="*/ 84 h 272"/>
                <a:gd name="T46" fmla="*/ 297 w 1328"/>
                <a:gd name="T47" fmla="*/ 272 h 272"/>
                <a:gd name="T48" fmla="*/ 512 w 1328"/>
                <a:gd name="T49" fmla="*/ 150 h 272"/>
                <a:gd name="T50" fmla="*/ 368 w 1328"/>
                <a:gd name="T51" fmla="*/ 86 h 272"/>
                <a:gd name="T52" fmla="*/ 370 w 1328"/>
                <a:gd name="T53" fmla="*/ 133 h 272"/>
                <a:gd name="T54" fmla="*/ 402 w 1328"/>
                <a:gd name="T55" fmla="*/ 256 h 272"/>
                <a:gd name="T56" fmla="*/ 480 w 1328"/>
                <a:gd name="T57" fmla="*/ 153 h 272"/>
                <a:gd name="T58" fmla="*/ 512 w 1328"/>
                <a:gd name="T59" fmla="*/ 256 h 272"/>
                <a:gd name="T60" fmla="*/ 625 w 1328"/>
                <a:gd name="T61" fmla="*/ 272 h 272"/>
                <a:gd name="T62" fmla="*/ 622 w 1328"/>
                <a:gd name="T63" fmla="*/ 84 h 272"/>
                <a:gd name="T64" fmla="*/ 682 w 1328"/>
                <a:gd name="T65" fmla="*/ 6 h 272"/>
                <a:gd name="T66" fmla="*/ 714 w 1328"/>
                <a:gd name="T67" fmla="*/ 258 h 272"/>
                <a:gd name="T68" fmla="*/ 628 w 1328"/>
                <a:gd name="T69" fmla="*/ 111 h 272"/>
                <a:gd name="T70" fmla="*/ 629 w 1328"/>
                <a:gd name="T71" fmla="*/ 244 h 272"/>
                <a:gd name="T72" fmla="*/ 837 w 1328"/>
                <a:gd name="T73" fmla="*/ 270 h 272"/>
                <a:gd name="T74" fmla="*/ 829 w 1328"/>
                <a:gd name="T75" fmla="*/ 241 h 272"/>
                <a:gd name="T76" fmla="*/ 837 w 1328"/>
                <a:gd name="T77" fmla="*/ 113 h 272"/>
                <a:gd name="T78" fmla="*/ 794 w 1328"/>
                <a:gd name="T79" fmla="*/ 86 h 272"/>
                <a:gd name="T80" fmla="*/ 762 w 1328"/>
                <a:gd name="T81" fmla="*/ 48 h 272"/>
                <a:gd name="T82" fmla="*/ 734 w 1328"/>
                <a:gd name="T83" fmla="*/ 100 h 272"/>
                <a:gd name="T84" fmla="*/ 762 w 1328"/>
                <a:gd name="T85" fmla="*/ 191 h 272"/>
                <a:gd name="T86" fmla="*/ 887 w 1328"/>
                <a:gd name="T87" fmla="*/ 86 h 272"/>
                <a:gd name="T88" fmla="*/ 889 w 1328"/>
                <a:gd name="T89" fmla="*/ 133 h 272"/>
                <a:gd name="T90" fmla="*/ 921 w 1328"/>
                <a:gd name="T91" fmla="*/ 256 h 272"/>
                <a:gd name="T92" fmla="*/ 961 w 1328"/>
                <a:gd name="T93" fmla="*/ 114 h 272"/>
                <a:gd name="T94" fmla="*/ 999 w 1328"/>
                <a:gd name="T95" fmla="*/ 101 h 272"/>
                <a:gd name="T96" fmla="*/ 887 w 1328"/>
                <a:gd name="T97" fmla="*/ 8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28" h="272">
                  <a:moveTo>
                    <a:pt x="1149" y="175"/>
                  </a:moveTo>
                  <a:cubicBezTo>
                    <a:pt x="1149" y="182"/>
                    <a:pt x="1145" y="188"/>
                    <a:pt x="1137" y="188"/>
                  </a:cubicBezTo>
                  <a:cubicBezTo>
                    <a:pt x="1038" y="188"/>
                    <a:pt x="1038" y="188"/>
                    <a:pt x="1038" y="188"/>
                  </a:cubicBezTo>
                  <a:cubicBezTo>
                    <a:pt x="1038" y="193"/>
                    <a:pt x="1038" y="193"/>
                    <a:pt x="1038" y="193"/>
                  </a:cubicBezTo>
                  <a:cubicBezTo>
                    <a:pt x="1038" y="222"/>
                    <a:pt x="1050" y="245"/>
                    <a:pt x="1079" y="245"/>
                  </a:cubicBezTo>
                  <a:cubicBezTo>
                    <a:pt x="1097" y="245"/>
                    <a:pt x="1109" y="242"/>
                    <a:pt x="1125" y="235"/>
                  </a:cubicBezTo>
                  <a:cubicBezTo>
                    <a:pt x="1126" y="234"/>
                    <a:pt x="1128" y="233"/>
                    <a:pt x="1130" y="233"/>
                  </a:cubicBezTo>
                  <a:cubicBezTo>
                    <a:pt x="1138" y="233"/>
                    <a:pt x="1143" y="240"/>
                    <a:pt x="1143" y="247"/>
                  </a:cubicBezTo>
                  <a:cubicBezTo>
                    <a:pt x="1143" y="253"/>
                    <a:pt x="1140" y="256"/>
                    <a:pt x="1136" y="259"/>
                  </a:cubicBezTo>
                  <a:cubicBezTo>
                    <a:pt x="1120" y="269"/>
                    <a:pt x="1096" y="272"/>
                    <a:pt x="1078" y="272"/>
                  </a:cubicBezTo>
                  <a:cubicBezTo>
                    <a:pt x="1030" y="272"/>
                    <a:pt x="1006" y="238"/>
                    <a:pt x="1006" y="192"/>
                  </a:cubicBezTo>
                  <a:cubicBezTo>
                    <a:pt x="1006" y="164"/>
                    <a:pt x="1006" y="164"/>
                    <a:pt x="1006" y="164"/>
                  </a:cubicBezTo>
                  <a:cubicBezTo>
                    <a:pt x="1006" y="118"/>
                    <a:pt x="1030" y="84"/>
                    <a:pt x="1078" y="84"/>
                  </a:cubicBezTo>
                  <a:cubicBezTo>
                    <a:pt x="1127" y="84"/>
                    <a:pt x="1149" y="114"/>
                    <a:pt x="1149" y="160"/>
                  </a:cubicBezTo>
                  <a:lnTo>
                    <a:pt x="1149" y="175"/>
                  </a:lnTo>
                  <a:close/>
                  <a:moveTo>
                    <a:pt x="1119" y="156"/>
                  </a:moveTo>
                  <a:cubicBezTo>
                    <a:pt x="1119" y="129"/>
                    <a:pt x="1109" y="110"/>
                    <a:pt x="1079" y="110"/>
                  </a:cubicBezTo>
                  <a:cubicBezTo>
                    <a:pt x="1051" y="110"/>
                    <a:pt x="1038" y="132"/>
                    <a:pt x="1038" y="159"/>
                  </a:cubicBezTo>
                  <a:cubicBezTo>
                    <a:pt x="1038" y="162"/>
                    <a:pt x="1038" y="162"/>
                    <a:pt x="1038" y="162"/>
                  </a:cubicBezTo>
                  <a:cubicBezTo>
                    <a:pt x="1119" y="162"/>
                    <a:pt x="1119" y="162"/>
                    <a:pt x="1119" y="162"/>
                  </a:cubicBezTo>
                  <a:lnTo>
                    <a:pt x="1119" y="156"/>
                  </a:lnTo>
                  <a:close/>
                  <a:moveTo>
                    <a:pt x="1328" y="175"/>
                  </a:moveTo>
                  <a:cubicBezTo>
                    <a:pt x="1328" y="182"/>
                    <a:pt x="1323" y="188"/>
                    <a:pt x="1316" y="188"/>
                  </a:cubicBezTo>
                  <a:cubicBezTo>
                    <a:pt x="1216" y="188"/>
                    <a:pt x="1216" y="188"/>
                    <a:pt x="1216" y="188"/>
                  </a:cubicBezTo>
                  <a:cubicBezTo>
                    <a:pt x="1216" y="193"/>
                    <a:pt x="1216" y="193"/>
                    <a:pt x="1216" y="193"/>
                  </a:cubicBezTo>
                  <a:cubicBezTo>
                    <a:pt x="1216" y="222"/>
                    <a:pt x="1228" y="245"/>
                    <a:pt x="1257" y="245"/>
                  </a:cubicBezTo>
                  <a:cubicBezTo>
                    <a:pt x="1275" y="245"/>
                    <a:pt x="1287" y="242"/>
                    <a:pt x="1303" y="235"/>
                  </a:cubicBezTo>
                  <a:cubicBezTo>
                    <a:pt x="1305" y="234"/>
                    <a:pt x="1306" y="233"/>
                    <a:pt x="1308" y="233"/>
                  </a:cubicBezTo>
                  <a:cubicBezTo>
                    <a:pt x="1316" y="233"/>
                    <a:pt x="1321" y="240"/>
                    <a:pt x="1321" y="247"/>
                  </a:cubicBezTo>
                  <a:cubicBezTo>
                    <a:pt x="1321" y="253"/>
                    <a:pt x="1318" y="256"/>
                    <a:pt x="1314" y="259"/>
                  </a:cubicBezTo>
                  <a:cubicBezTo>
                    <a:pt x="1298" y="269"/>
                    <a:pt x="1274" y="272"/>
                    <a:pt x="1256" y="272"/>
                  </a:cubicBezTo>
                  <a:cubicBezTo>
                    <a:pt x="1208" y="272"/>
                    <a:pt x="1184" y="238"/>
                    <a:pt x="1184" y="192"/>
                  </a:cubicBezTo>
                  <a:cubicBezTo>
                    <a:pt x="1184" y="164"/>
                    <a:pt x="1184" y="164"/>
                    <a:pt x="1184" y="164"/>
                  </a:cubicBezTo>
                  <a:cubicBezTo>
                    <a:pt x="1184" y="118"/>
                    <a:pt x="1209" y="84"/>
                    <a:pt x="1256" y="84"/>
                  </a:cubicBezTo>
                  <a:cubicBezTo>
                    <a:pt x="1305" y="84"/>
                    <a:pt x="1328" y="114"/>
                    <a:pt x="1328" y="160"/>
                  </a:cubicBezTo>
                  <a:lnTo>
                    <a:pt x="1328" y="175"/>
                  </a:lnTo>
                  <a:close/>
                  <a:moveTo>
                    <a:pt x="1297" y="156"/>
                  </a:moveTo>
                  <a:cubicBezTo>
                    <a:pt x="1297" y="129"/>
                    <a:pt x="1287" y="110"/>
                    <a:pt x="1257" y="110"/>
                  </a:cubicBezTo>
                  <a:cubicBezTo>
                    <a:pt x="1229" y="110"/>
                    <a:pt x="1216" y="132"/>
                    <a:pt x="1216" y="159"/>
                  </a:cubicBezTo>
                  <a:cubicBezTo>
                    <a:pt x="1216" y="162"/>
                    <a:pt x="1216" y="162"/>
                    <a:pt x="1216" y="162"/>
                  </a:cubicBezTo>
                  <a:cubicBezTo>
                    <a:pt x="1297" y="162"/>
                    <a:pt x="1297" y="162"/>
                    <a:pt x="1297" y="162"/>
                  </a:cubicBezTo>
                  <a:lnTo>
                    <a:pt x="1297" y="156"/>
                  </a:lnTo>
                  <a:close/>
                  <a:moveTo>
                    <a:pt x="225" y="15"/>
                  </a:moveTo>
                  <a:cubicBezTo>
                    <a:pt x="225" y="6"/>
                    <a:pt x="218" y="0"/>
                    <a:pt x="209" y="0"/>
                  </a:cubicBezTo>
                  <a:cubicBezTo>
                    <a:pt x="202" y="0"/>
                    <a:pt x="197" y="3"/>
                    <a:pt x="194" y="9"/>
                  </a:cubicBezTo>
                  <a:cubicBezTo>
                    <a:pt x="113" y="180"/>
                    <a:pt x="113" y="180"/>
                    <a:pt x="113" y="18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28" y="3"/>
                    <a:pt x="23" y="0"/>
                    <a:pt x="15" y="0"/>
                  </a:cubicBezTo>
                  <a:cubicBezTo>
                    <a:pt x="6" y="0"/>
                    <a:pt x="0" y="6"/>
                    <a:pt x="0" y="15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0" y="265"/>
                    <a:pt x="6" y="272"/>
                    <a:pt x="15" y="272"/>
                  </a:cubicBezTo>
                  <a:cubicBezTo>
                    <a:pt x="23" y="272"/>
                    <a:pt x="30" y="265"/>
                    <a:pt x="30" y="257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97" y="217"/>
                    <a:pt x="97" y="217"/>
                    <a:pt x="97" y="217"/>
                  </a:cubicBezTo>
                  <a:cubicBezTo>
                    <a:pt x="100" y="223"/>
                    <a:pt x="106" y="226"/>
                    <a:pt x="112" y="226"/>
                  </a:cubicBezTo>
                  <a:cubicBezTo>
                    <a:pt x="119" y="226"/>
                    <a:pt x="124" y="223"/>
                    <a:pt x="127" y="217"/>
                  </a:cubicBezTo>
                  <a:cubicBezTo>
                    <a:pt x="194" y="73"/>
                    <a:pt x="194" y="73"/>
                    <a:pt x="194" y="73"/>
                  </a:cubicBezTo>
                  <a:cubicBezTo>
                    <a:pt x="194" y="257"/>
                    <a:pt x="194" y="257"/>
                    <a:pt x="194" y="257"/>
                  </a:cubicBezTo>
                  <a:cubicBezTo>
                    <a:pt x="194" y="265"/>
                    <a:pt x="201" y="272"/>
                    <a:pt x="210" y="272"/>
                  </a:cubicBezTo>
                  <a:cubicBezTo>
                    <a:pt x="218" y="272"/>
                    <a:pt x="225" y="265"/>
                    <a:pt x="225" y="257"/>
                  </a:cubicBezTo>
                  <a:lnTo>
                    <a:pt x="225" y="15"/>
                  </a:lnTo>
                  <a:close/>
                  <a:moveTo>
                    <a:pt x="316" y="26"/>
                  </a:moveTo>
                  <a:cubicBezTo>
                    <a:pt x="316" y="15"/>
                    <a:pt x="307" y="7"/>
                    <a:pt x="297" y="7"/>
                  </a:cubicBezTo>
                  <a:cubicBezTo>
                    <a:pt x="287" y="7"/>
                    <a:pt x="278" y="16"/>
                    <a:pt x="278" y="26"/>
                  </a:cubicBezTo>
                  <a:cubicBezTo>
                    <a:pt x="278" y="36"/>
                    <a:pt x="287" y="44"/>
                    <a:pt x="297" y="44"/>
                  </a:cubicBezTo>
                  <a:cubicBezTo>
                    <a:pt x="307" y="44"/>
                    <a:pt x="316" y="36"/>
                    <a:pt x="316" y="26"/>
                  </a:cubicBezTo>
                  <a:close/>
                  <a:moveTo>
                    <a:pt x="313" y="256"/>
                  </a:moveTo>
                  <a:cubicBezTo>
                    <a:pt x="313" y="100"/>
                    <a:pt x="313" y="100"/>
                    <a:pt x="313" y="100"/>
                  </a:cubicBezTo>
                  <a:cubicBezTo>
                    <a:pt x="313" y="91"/>
                    <a:pt x="306" y="84"/>
                    <a:pt x="297" y="84"/>
                  </a:cubicBezTo>
                  <a:cubicBezTo>
                    <a:pt x="288" y="84"/>
                    <a:pt x="281" y="91"/>
                    <a:pt x="281" y="100"/>
                  </a:cubicBezTo>
                  <a:cubicBezTo>
                    <a:pt x="281" y="256"/>
                    <a:pt x="281" y="256"/>
                    <a:pt x="281" y="256"/>
                  </a:cubicBezTo>
                  <a:cubicBezTo>
                    <a:pt x="281" y="265"/>
                    <a:pt x="288" y="272"/>
                    <a:pt x="297" y="272"/>
                  </a:cubicBezTo>
                  <a:cubicBezTo>
                    <a:pt x="306" y="272"/>
                    <a:pt x="313" y="265"/>
                    <a:pt x="313" y="256"/>
                  </a:cubicBezTo>
                  <a:close/>
                  <a:moveTo>
                    <a:pt x="512" y="256"/>
                  </a:moveTo>
                  <a:cubicBezTo>
                    <a:pt x="512" y="150"/>
                    <a:pt x="512" y="150"/>
                    <a:pt x="512" y="150"/>
                  </a:cubicBezTo>
                  <a:cubicBezTo>
                    <a:pt x="512" y="110"/>
                    <a:pt x="496" y="84"/>
                    <a:pt x="452" y="84"/>
                  </a:cubicBezTo>
                  <a:cubicBezTo>
                    <a:pt x="431" y="84"/>
                    <a:pt x="410" y="89"/>
                    <a:pt x="395" y="106"/>
                  </a:cubicBezTo>
                  <a:cubicBezTo>
                    <a:pt x="391" y="94"/>
                    <a:pt x="380" y="86"/>
                    <a:pt x="368" y="86"/>
                  </a:cubicBezTo>
                  <a:cubicBezTo>
                    <a:pt x="359" y="86"/>
                    <a:pt x="353" y="90"/>
                    <a:pt x="352" y="98"/>
                  </a:cubicBezTo>
                  <a:cubicBezTo>
                    <a:pt x="352" y="105"/>
                    <a:pt x="355" y="108"/>
                    <a:pt x="362" y="112"/>
                  </a:cubicBezTo>
                  <a:cubicBezTo>
                    <a:pt x="367" y="116"/>
                    <a:pt x="370" y="123"/>
                    <a:pt x="370" y="133"/>
                  </a:cubicBezTo>
                  <a:cubicBezTo>
                    <a:pt x="370" y="256"/>
                    <a:pt x="370" y="256"/>
                    <a:pt x="370" y="256"/>
                  </a:cubicBezTo>
                  <a:cubicBezTo>
                    <a:pt x="370" y="265"/>
                    <a:pt x="377" y="272"/>
                    <a:pt x="386" y="272"/>
                  </a:cubicBezTo>
                  <a:cubicBezTo>
                    <a:pt x="395" y="272"/>
                    <a:pt x="402" y="265"/>
                    <a:pt x="402" y="256"/>
                  </a:cubicBezTo>
                  <a:cubicBezTo>
                    <a:pt x="402" y="137"/>
                    <a:pt x="402" y="137"/>
                    <a:pt x="402" y="137"/>
                  </a:cubicBezTo>
                  <a:cubicBezTo>
                    <a:pt x="411" y="121"/>
                    <a:pt x="428" y="114"/>
                    <a:pt x="446" y="114"/>
                  </a:cubicBezTo>
                  <a:cubicBezTo>
                    <a:pt x="473" y="114"/>
                    <a:pt x="480" y="129"/>
                    <a:pt x="480" y="153"/>
                  </a:cubicBezTo>
                  <a:cubicBezTo>
                    <a:pt x="480" y="256"/>
                    <a:pt x="480" y="256"/>
                    <a:pt x="480" y="256"/>
                  </a:cubicBezTo>
                  <a:cubicBezTo>
                    <a:pt x="480" y="265"/>
                    <a:pt x="487" y="272"/>
                    <a:pt x="496" y="272"/>
                  </a:cubicBezTo>
                  <a:cubicBezTo>
                    <a:pt x="505" y="272"/>
                    <a:pt x="512" y="265"/>
                    <a:pt x="512" y="256"/>
                  </a:cubicBezTo>
                  <a:close/>
                  <a:moveTo>
                    <a:pt x="699" y="272"/>
                  </a:moveTo>
                  <a:cubicBezTo>
                    <a:pt x="688" y="272"/>
                    <a:pt x="677" y="265"/>
                    <a:pt x="672" y="256"/>
                  </a:cubicBezTo>
                  <a:cubicBezTo>
                    <a:pt x="659" y="266"/>
                    <a:pt x="642" y="272"/>
                    <a:pt x="625" y="272"/>
                  </a:cubicBezTo>
                  <a:cubicBezTo>
                    <a:pt x="576" y="272"/>
                    <a:pt x="557" y="244"/>
                    <a:pt x="557" y="198"/>
                  </a:cubicBezTo>
                  <a:cubicBezTo>
                    <a:pt x="557" y="165"/>
                    <a:pt x="557" y="165"/>
                    <a:pt x="557" y="165"/>
                  </a:cubicBezTo>
                  <a:cubicBezTo>
                    <a:pt x="557" y="121"/>
                    <a:pt x="572" y="84"/>
                    <a:pt x="622" y="84"/>
                  </a:cubicBezTo>
                  <a:cubicBezTo>
                    <a:pt x="638" y="84"/>
                    <a:pt x="654" y="89"/>
                    <a:pt x="666" y="98"/>
                  </a:cubicBezTo>
                  <a:cubicBezTo>
                    <a:pt x="666" y="22"/>
                    <a:pt x="666" y="22"/>
                    <a:pt x="666" y="22"/>
                  </a:cubicBezTo>
                  <a:cubicBezTo>
                    <a:pt x="666" y="13"/>
                    <a:pt x="673" y="6"/>
                    <a:pt x="682" y="6"/>
                  </a:cubicBezTo>
                  <a:cubicBezTo>
                    <a:pt x="691" y="6"/>
                    <a:pt x="698" y="13"/>
                    <a:pt x="698" y="22"/>
                  </a:cubicBezTo>
                  <a:cubicBezTo>
                    <a:pt x="698" y="225"/>
                    <a:pt x="698" y="225"/>
                    <a:pt x="698" y="225"/>
                  </a:cubicBezTo>
                  <a:cubicBezTo>
                    <a:pt x="698" y="254"/>
                    <a:pt x="714" y="242"/>
                    <a:pt x="714" y="258"/>
                  </a:cubicBezTo>
                  <a:cubicBezTo>
                    <a:pt x="714" y="268"/>
                    <a:pt x="707" y="272"/>
                    <a:pt x="699" y="272"/>
                  </a:cubicBezTo>
                  <a:close/>
                  <a:moveTo>
                    <a:pt x="666" y="128"/>
                  </a:moveTo>
                  <a:cubicBezTo>
                    <a:pt x="657" y="118"/>
                    <a:pt x="642" y="111"/>
                    <a:pt x="628" y="111"/>
                  </a:cubicBezTo>
                  <a:cubicBezTo>
                    <a:pt x="598" y="111"/>
                    <a:pt x="589" y="134"/>
                    <a:pt x="589" y="161"/>
                  </a:cubicBezTo>
                  <a:cubicBezTo>
                    <a:pt x="589" y="200"/>
                    <a:pt x="589" y="200"/>
                    <a:pt x="589" y="200"/>
                  </a:cubicBezTo>
                  <a:cubicBezTo>
                    <a:pt x="589" y="228"/>
                    <a:pt x="599" y="244"/>
                    <a:pt x="629" y="244"/>
                  </a:cubicBezTo>
                  <a:cubicBezTo>
                    <a:pt x="643" y="244"/>
                    <a:pt x="656" y="238"/>
                    <a:pt x="666" y="229"/>
                  </a:cubicBezTo>
                  <a:lnTo>
                    <a:pt x="666" y="128"/>
                  </a:lnTo>
                  <a:close/>
                  <a:moveTo>
                    <a:pt x="837" y="270"/>
                  </a:moveTo>
                  <a:cubicBezTo>
                    <a:pt x="845" y="270"/>
                    <a:pt x="851" y="263"/>
                    <a:pt x="851" y="255"/>
                  </a:cubicBezTo>
                  <a:cubicBezTo>
                    <a:pt x="851" y="247"/>
                    <a:pt x="845" y="241"/>
                    <a:pt x="837" y="241"/>
                  </a:cubicBezTo>
                  <a:cubicBezTo>
                    <a:pt x="829" y="241"/>
                    <a:pt x="829" y="241"/>
                    <a:pt x="829" y="241"/>
                  </a:cubicBezTo>
                  <a:cubicBezTo>
                    <a:pt x="796" y="241"/>
                    <a:pt x="794" y="219"/>
                    <a:pt x="794" y="191"/>
                  </a:cubicBezTo>
                  <a:cubicBezTo>
                    <a:pt x="794" y="113"/>
                    <a:pt x="794" y="113"/>
                    <a:pt x="794" y="113"/>
                  </a:cubicBezTo>
                  <a:cubicBezTo>
                    <a:pt x="837" y="113"/>
                    <a:pt x="837" y="113"/>
                    <a:pt x="837" y="113"/>
                  </a:cubicBezTo>
                  <a:cubicBezTo>
                    <a:pt x="844" y="113"/>
                    <a:pt x="850" y="107"/>
                    <a:pt x="850" y="100"/>
                  </a:cubicBezTo>
                  <a:cubicBezTo>
                    <a:pt x="850" y="92"/>
                    <a:pt x="844" y="86"/>
                    <a:pt x="837" y="86"/>
                  </a:cubicBezTo>
                  <a:cubicBezTo>
                    <a:pt x="794" y="86"/>
                    <a:pt x="794" y="86"/>
                    <a:pt x="794" y="86"/>
                  </a:cubicBezTo>
                  <a:cubicBezTo>
                    <a:pt x="794" y="48"/>
                    <a:pt x="794" y="48"/>
                    <a:pt x="794" y="48"/>
                  </a:cubicBezTo>
                  <a:cubicBezTo>
                    <a:pt x="794" y="40"/>
                    <a:pt x="787" y="32"/>
                    <a:pt x="778" y="32"/>
                  </a:cubicBezTo>
                  <a:cubicBezTo>
                    <a:pt x="770" y="32"/>
                    <a:pt x="762" y="40"/>
                    <a:pt x="762" y="48"/>
                  </a:cubicBezTo>
                  <a:cubicBezTo>
                    <a:pt x="762" y="86"/>
                    <a:pt x="762" y="86"/>
                    <a:pt x="762" y="86"/>
                  </a:cubicBezTo>
                  <a:cubicBezTo>
                    <a:pt x="747" y="86"/>
                    <a:pt x="747" y="86"/>
                    <a:pt x="747" y="86"/>
                  </a:cubicBezTo>
                  <a:cubicBezTo>
                    <a:pt x="740" y="86"/>
                    <a:pt x="734" y="92"/>
                    <a:pt x="734" y="100"/>
                  </a:cubicBezTo>
                  <a:cubicBezTo>
                    <a:pt x="734" y="107"/>
                    <a:pt x="740" y="113"/>
                    <a:pt x="747" y="113"/>
                  </a:cubicBezTo>
                  <a:cubicBezTo>
                    <a:pt x="762" y="113"/>
                    <a:pt x="762" y="113"/>
                    <a:pt x="762" y="113"/>
                  </a:cubicBezTo>
                  <a:cubicBezTo>
                    <a:pt x="762" y="191"/>
                    <a:pt x="762" y="191"/>
                    <a:pt x="762" y="191"/>
                  </a:cubicBezTo>
                  <a:cubicBezTo>
                    <a:pt x="762" y="237"/>
                    <a:pt x="774" y="270"/>
                    <a:pt x="826" y="270"/>
                  </a:cubicBezTo>
                  <a:lnTo>
                    <a:pt x="837" y="270"/>
                  </a:lnTo>
                  <a:close/>
                  <a:moveTo>
                    <a:pt x="887" y="86"/>
                  </a:moveTo>
                  <a:cubicBezTo>
                    <a:pt x="878" y="86"/>
                    <a:pt x="872" y="90"/>
                    <a:pt x="871" y="98"/>
                  </a:cubicBezTo>
                  <a:cubicBezTo>
                    <a:pt x="871" y="105"/>
                    <a:pt x="874" y="108"/>
                    <a:pt x="881" y="112"/>
                  </a:cubicBezTo>
                  <a:cubicBezTo>
                    <a:pt x="886" y="116"/>
                    <a:pt x="889" y="123"/>
                    <a:pt x="889" y="133"/>
                  </a:cubicBezTo>
                  <a:cubicBezTo>
                    <a:pt x="889" y="256"/>
                    <a:pt x="889" y="256"/>
                    <a:pt x="889" y="256"/>
                  </a:cubicBezTo>
                  <a:cubicBezTo>
                    <a:pt x="889" y="265"/>
                    <a:pt x="896" y="272"/>
                    <a:pt x="905" y="272"/>
                  </a:cubicBezTo>
                  <a:cubicBezTo>
                    <a:pt x="914" y="272"/>
                    <a:pt x="921" y="265"/>
                    <a:pt x="921" y="256"/>
                  </a:cubicBezTo>
                  <a:cubicBezTo>
                    <a:pt x="921" y="220"/>
                    <a:pt x="921" y="184"/>
                    <a:pt x="921" y="147"/>
                  </a:cubicBezTo>
                  <a:cubicBezTo>
                    <a:pt x="921" y="146"/>
                    <a:pt x="923" y="139"/>
                    <a:pt x="924" y="138"/>
                  </a:cubicBezTo>
                  <a:cubicBezTo>
                    <a:pt x="930" y="121"/>
                    <a:pt x="944" y="114"/>
                    <a:pt x="961" y="114"/>
                  </a:cubicBezTo>
                  <a:cubicBezTo>
                    <a:pt x="968" y="114"/>
                    <a:pt x="973" y="115"/>
                    <a:pt x="979" y="117"/>
                  </a:cubicBezTo>
                  <a:cubicBezTo>
                    <a:pt x="981" y="117"/>
                    <a:pt x="982" y="117"/>
                    <a:pt x="984" y="117"/>
                  </a:cubicBezTo>
                  <a:cubicBezTo>
                    <a:pt x="992" y="117"/>
                    <a:pt x="999" y="109"/>
                    <a:pt x="999" y="101"/>
                  </a:cubicBezTo>
                  <a:cubicBezTo>
                    <a:pt x="999" y="85"/>
                    <a:pt x="978" y="84"/>
                    <a:pt x="967" y="84"/>
                  </a:cubicBezTo>
                  <a:cubicBezTo>
                    <a:pt x="946" y="84"/>
                    <a:pt x="929" y="92"/>
                    <a:pt x="916" y="109"/>
                  </a:cubicBezTo>
                  <a:cubicBezTo>
                    <a:pt x="912" y="96"/>
                    <a:pt x="901" y="86"/>
                    <a:pt x="887" y="8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D4F53"/>
                </a:solidFill>
              </a:endParaRPr>
            </a:p>
          </p:txBody>
        </p:sp>
        <p:sp>
          <p:nvSpPr>
            <p:cNvPr id="14" name="Freeform 6"/>
            <p:cNvSpPr>
              <a:spLocks noEditPoints="1"/>
            </p:cNvSpPr>
            <p:nvPr/>
          </p:nvSpPr>
          <p:spPr bwMode="auto">
            <a:xfrm>
              <a:off x="-2071823" y="1292225"/>
              <a:ext cx="1754186" cy="1712912"/>
            </a:xfrm>
            <a:custGeom>
              <a:avLst/>
              <a:gdLst>
                <a:gd name="T0" fmla="*/ 227 w 467"/>
                <a:gd name="T1" fmla="*/ 162 h 455"/>
                <a:gd name="T2" fmla="*/ 112 w 467"/>
                <a:gd name="T3" fmla="*/ 33 h 455"/>
                <a:gd name="T4" fmla="*/ 139 w 467"/>
                <a:gd name="T5" fmla="*/ 23 h 455"/>
                <a:gd name="T6" fmla="*/ 368 w 467"/>
                <a:gd name="T7" fmla="*/ 40 h 455"/>
                <a:gd name="T8" fmla="*/ 229 w 467"/>
                <a:gd name="T9" fmla="*/ 335 h 455"/>
                <a:gd name="T10" fmla="*/ 360 w 467"/>
                <a:gd name="T11" fmla="*/ 265 h 455"/>
                <a:gd name="T12" fmla="*/ 235 w 467"/>
                <a:gd name="T13" fmla="*/ 382 h 455"/>
                <a:gd name="T14" fmla="*/ 248 w 467"/>
                <a:gd name="T15" fmla="*/ 397 h 455"/>
                <a:gd name="T16" fmla="*/ 346 w 467"/>
                <a:gd name="T17" fmla="*/ 361 h 455"/>
                <a:gd name="T18" fmla="*/ 452 w 467"/>
                <a:gd name="T19" fmla="*/ 201 h 455"/>
                <a:gd name="T20" fmla="*/ 324 w 467"/>
                <a:gd name="T21" fmla="*/ 433 h 455"/>
                <a:gd name="T22" fmla="*/ 254 w 467"/>
                <a:gd name="T23" fmla="*/ 1 h 455"/>
                <a:gd name="T24" fmla="*/ 254 w 467"/>
                <a:gd name="T25" fmla="*/ 1 h 455"/>
                <a:gd name="T26" fmla="*/ 334 w 467"/>
                <a:gd name="T27" fmla="*/ 22 h 455"/>
                <a:gd name="T28" fmla="*/ 227 w 467"/>
                <a:gd name="T29" fmla="*/ 119 h 455"/>
                <a:gd name="T30" fmla="*/ 265 w 467"/>
                <a:gd name="T31" fmla="*/ 87 h 455"/>
                <a:gd name="T32" fmla="*/ 355 w 467"/>
                <a:gd name="T33" fmla="*/ 176 h 455"/>
                <a:gd name="T34" fmla="*/ 355 w 467"/>
                <a:gd name="T35" fmla="*/ 176 h 455"/>
                <a:gd name="T36" fmla="*/ 333 w 467"/>
                <a:gd name="T37" fmla="*/ 61 h 455"/>
                <a:gd name="T38" fmla="*/ 340 w 467"/>
                <a:gd name="T39" fmla="*/ 120 h 455"/>
                <a:gd name="T40" fmla="*/ 315 w 467"/>
                <a:gd name="T41" fmla="*/ 214 h 455"/>
                <a:gd name="T42" fmla="*/ 329 w 467"/>
                <a:gd name="T43" fmla="*/ 227 h 455"/>
                <a:gd name="T44" fmla="*/ 319 w 467"/>
                <a:gd name="T45" fmla="*/ 135 h 455"/>
                <a:gd name="T46" fmla="*/ 324 w 467"/>
                <a:gd name="T47" fmla="*/ 153 h 455"/>
                <a:gd name="T48" fmla="*/ 332 w 467"/>
                <a:gd name="T49" fmla="*/ 128 h 455"/>
                <a:gd name="T50" fmla="*/ 173 w 467"/>
                <a:gd name="T51" fmla="*/ 418 h 455"/>
                <a:gd name="T52" fmla="*/ 201 w 467"/>
                <a:gd name="T53" fmla="*/ 401 h 455"/>
                <a:gd name="T54" fmla="*/ 186 w 467"/>
                <a:gd name="T55" fmla="*/ 371 h 455"/>
                <a:gd name="T56" fmla="*/ 309 w 467"/>
                <a:gd name="T57" fmla="*/ 393 h 455"/>
                <a:gd name="T58" fmla="*/ 315 w 467"/>
                <a:gd name="T59" fmla="*/ 404 h 455"/>
                <a:gd name="T60" fmla="*/ 238 w 467"/>
                <a:gd name="T61" fmla="*/ 430 h 455"/>
                <a:gd name="T62" fmla="*/ 267 w 467"/>
                <a:gd name="T63" fmla="*/ 425 h 455"/>
                <a:gd name="T64" fmla="*/ 132 w 467"/>
                <a:gd name="T65" fmla="*/ 429 h 455"/>
                <a:gd name="T66" fmla="*/ 149 w 467"/>
                <a:gd name="T67" fmla="*/ 419 h 455"/>
                <a:gd name="T68" fmla="*/ 197 w 467"/>
                <a:gd name="T69" fmla="*/ 455 h 455"/>
                <a:gd name="T70" fmla="*/ 257 w 467"/>
                <a:gd name="T71" fmla="*/ 144 h 455"/>
                <a:gd name="T72" fmla="*/ 248 w 467"/>
                <a:gd name="T73" fmla="*/ 161 h 455"/>
                <a:gd name="T74" fmla="*/ 285 w 467"/>
                <a:gd name="T75" fmla="*/ 441 h 455"/>
                <a:gd name="T76" fmla="*/ 308 w 467"/>
                <a:gd name="T77" fmla="*/ 441 h 455"/>
                <a:gd name="T78" fmla="*/ 110 w 467"/>
                <a:gd name="T79" fmla="*/ 423 h 455"/>
                <a:gd name="T80" fmla="*/ 163 w 467"/>
                <a:gd name="T81" fmla="*/ 342 h 455"/>
                <a:gd name="T82" fmla="*/ 296 w 467"/>
                <a:gd name="T83" fmla="*/ 237 h 455"/>
                <a:gd name="T84" fmla="*/ 93 w 467"/>
                <a:gd name="T85" fmla="*/ 394 h 455"/>
                <a:gd name="T86" fmla="*/ 298 w 467"/>
                <a:gd name="T87" fmla="*/ 160 h 455"/>
                <a:gd name="T88" fmla="*/ 80 w 467"/>
                <a:gd name="T89" fmla="*/ 382 h 455"/>
                <a:gd name="T90" fmla="*/ 185 w 467"/>
                <a:gd name="T91" fmla="*/ 192 h 455"/>
                <a:gd name="T92" fmla="*/ 67 w 467"/>
                <a:gd name="T93" fmla="*/ 367 h 455"/>
                <a:gd name="T94" fmla="*/ 197 w 467"/>
                <a:gd name="T95" fmla="*/ 122 h 455"/>
                <a:gd name="T96" fmla="*/ 54 w 467"/>
                <a:gd name="T97" fmla="*/ 351 h 455"/>
                <a:gd name="T98" fmla="*/ 272 w 467"/>
                <a:gd name="T99" fmla="*/ 48 h 455"/>
                <a:gd name="T100" fmla="*/ 95 w 467"/>
                <a:gd name="T101" fmla="*/ 161 h 455"/>
                <a:gd name="T102" fmla="*/ 191 w 467"/>
                <a:gd name="T103" fmla="*/ 45 h 455"/>
                <a:gd name="T104" fmla="*/ 59 w 467"/>
                <a:gd name="T105" fmla="*/ 145 h 455"/>
                <a:gd name="T106" fmla="*/ 29 w 467"/>
                <a:gd name="T107" fmla="*/ 159 h 455"/>
                <a:gd name="T108" fmla="*/ 100 w 467"/>
                <a:gd name="T109" fmla="*/ 43 h 455"/>
                <a:gd name="T110" fmla="*/ 168 w 467"/>
                <a:gd name="T111" fmla="*/ 9 h 455"/>
                <a:gd name="T112" fmla="*/ 151 w 467"/>
                <a:gd name="T113" fmla="*/ 20 h 4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67" h="455">
                  <a:moveTo>
                    <a:pt x="235" y="168"/>
                  </a:moveTo>
                  <a:cubicBezTo>
                    <a:pt x="235" y="178"/>
                    <a:pt x="216" y="189"/>
                    <a:pt x="207" y="189"/>
                  </a:cubicBezTo>
                  <a:cubicBezTo>
                    <a:pt x="204" y="189"/>
                    <a:pt x="200" y="188"/>
                    <a:pt x="200" y="183"/>
                  </a:cubicBezTo>
                  <a:cubicBezTo>
                    <a:pt x="200" y="174"/>
                    <a:pt x="218" y="162"/>
                    <a:pt x="227" y="162"/>
                  </a:cubicBezTo>
                  <a:cubicBezTo>
                    <a:pt x="231" y="162"/>
                    <a:pt x="235" y="163"/>
                    <a:pt x="235" y="168"/>
                  </a:cubicBezTo>
                  <a:close/>
                  <a:moveTo>
                    <a:pt x="139" y="23"/>
                  </a:moveTo>
                  <a:cubicBezTo>
                    <a:pt x="138" y="21"/>
                    <a:pt x="135" y="20"/>
                    <a:pt x="131" y="20"/>
                  </a:cubicBezTo>
                  <a:cubicBezTo>
                    <a:pt x="123" y="21"/>
                    <a:pt x="114" y="27"/>
                    <a:pt x="112" y="33"/>
                  </a:cubicBezTo>
                  <a:cubicBezTo>
                    <a:pt x="111" y="35"/>
                    <a:pt x="111" y="37"/>
                    <a:pt x="112" y="39"/>
                  </a:cubicBezTo>
                  <a:cubicBezTo>
                    <a:pt x="113" y="40"/>
                    <a:pt x="115" y="41"/>
                    <a:pt x="117" y="41"/>
                  </a:cubicBezTo>
                  <a:cubicBezTo>
                    <a:pt x="124" y="41"/>
                    <a:pt x="135" y="36"/>
                    <a:pt x="138" y="29"/>
                  </a:cubicBezTo>
                  <a:cubicBezTo>
                    <a:pt x="139" y="27"/>
                    <a:pt x="140" y="25"/>
                    <a:pt x="139" y="23"/>
                  </a:cubicBezTo>
                  <a:close/>
                  <a:moveTo>
                    <a:pt x="467" y="226"/>
                  </a:moveTo>
                  <a:cubicBezTo>
                    <a:pt x="467" y="161"/>
                    <a:pt x="438" y="92"/>
                    <a:pt x="375" y="42"/>
                  </a:cubicBezTo>
                  <a:cubicBezTo>
                    <a:pt x="373" y="41"/>
                    <a:pt x="371" y="40"/>
                    <a:pt x="369" y="39"/>
                  </a:cubicBezTo>
                  <a:cubicBezTo>
                    <a:pt x="369" y="39"/>
                    <a:pt x="368" y="39"/>
                    <a:pt x="368" y="40"/>
                  </a:cubicBezTo>
                  <a:cubicBezTo>
                    <a:pt x="367" y="40"/>
                    <a:pt x="367" y="41"/>
                    <a:pt x="368" y="42"/>
                  </a:cubicBezTo>
                  <a:cubicBezTo>
                    <a:pt x="422" y="103"/>
                    <a:pt x="400" y="192"/>
                    <a:pt x="360" y="238"/>
                  </a:cubicBezTo>
                  <a:cubicBezTo>
                    <a:pt x="325" y="278"/>
                    <a:pt x="280" y="307"/>
                    <a:pt x="239" y="329"/>
                  </a:cubicBezTo>
                  <a:cubicBezTo>
                    <a:pt x="236" y="331"/>
                    <a:pt x="231" y="333"/>
                    <a:pt x="229" y="335"/>
                  </a:cubicBezTo>
                  <a:cubicBezTo>
                    <a:pt x="225" y="339"/>
                    <a:pt x="224" y="343"/>
                    <a:pt x="226" y="346"/>
                  </a:cubicBezTo>
                  <a:cubicBezTo>
                    <a:pt x="227" y="350"/>
                    <a:pt x="231" y="351"/>
                    <a:pt x="236" y="351"/>
                  </a:cubicBezTo>
                  <a:cubicBezTo>
                    <a:pt x="239" y="350"/>
                    <a:pt x="246" y="348"/>
                    <a:pt x="251" y="346"/>
                  </a:cubicBezTo>
                  <a:cubicBezTo>
                    <a:pt x="289" y="326"/>
                    <a:pt x="329" y="299"/>
                    <a:pt x="360" y="265"/>
                  </a:cubicBezTo>
                  <a:cubicBezTo>
                    <a:pt x="398" y="223"/>
                    <a:pt x="422" y="169"/>
                    <a:pt x="412" y="104"/>
                  </a:cubicBezTo>
                  <a:cubicBezTo>
                    <a:pt x="413" y="105"/>
                    <a:pt x="413" y="106"/>
                    <a:pt x="414" y="107"/>
                  </a:cubicBezTo>
                  <a:cubicBezTo>
                    <a:pt x="434" y="158"/>
                    <a:pt x="417" y="222"/>
                    <a:pt x="371" y="279"/>
                  </a:cubicBezTo>
                  <a:cubicBezTo>
                    <a:pt x="339" y="320"/>
                    <a:pt x="293" y="356"/>
                    <a:pt x="235" y="382"/>
                  </a:cubicBezTo>
                  <a:cubicBezTo>
                    <a:pt x="231" y="384"/>
                    <a:pt x="224" y="388"/>
                    <a:pt x="222" y="392"/>
                  </a:cubicBezTo>
                  <a:cubicBezTo>
                    <a:pt x="220" y="395"/>
                    <a:pt x="220" y="398"/>
                    <a:pt x="222" y="400"/>
                  </a:cubicBezTo>
                  <a:cubicBezTo>
                    <a:pt x="223" y="402"/>
                    <a:pt x="225" y="403"/>
                    <a:pt x="227" y="404"/>
                  </a:cubicBezTo>
                  <a:cubicBezTo>
                    <a:pt x="234" y="404"/>
                    <a:pt x="241" y="400"/>
                    <a:pt x="248" y="397"/>
                  </a:cubicBezTo>
                  <a:cubicBezTo>
                    <a:pt x="340" y="352"/>
                    <a:pt x="441" y="268"/>
                    <a:pt x="435" y="145"/>
                  </a:cubicBezTo>
                  <a:cubicBezTo>
                    <a:pt x="436" y="147"/>
                    <a:pt x="436" y="148"/>
                    <a:pt x="436" y="149"/>
                  </a:cubicBezTo>
                  <a:cubicBezTo>
                    <a:pt x="446" y="199"/>
                    <a:pt x="435" y="244"/>
                    <a:pt x="414" y="282"/>
                  </a:cubicBezTo>
                  <a:cubicBezTo>
                    <a:pt x="396" y="314"/>
                    <a:pt x="371" y="340"/>
                    <a:pt x="346" y="361"/>
                  </a:cubicBezTo>
                  <a:cubicBezTo>
                    <a:pt x="332" y="372"/>
                    <a:pt x="327" y="379"/>
                    <a:pt x="330" y="384"/>
                  </a:cubicBezTo>
                  <a:cubicBezTo>
                    <a:pt x="333" y="390"/>
                    <a:pt x="342" y="387"/>
                    <a:pt x="347" y="384"/>
                  </a:cubicBezTo>
                  <a:cubicBezTo>
                    <a:pt x="357" y="378"/>
                    <a:pt x="366" y="369"/>
                    <a:pt x="373" y="363"/>
                  </a:cubicBezTo>
                  <a:cubicBezTo>
                    <a:pt x="414" y="321"/>
                    <a:pt x="445" y="276"/>
                    <a:pt x="452" y="201"/>
                  </a:cubicBezTo>
                  <a:cubicBezTo>
                    <a:pt x="453" y="205"/>
                    <a:pt x="453" y="209"/>
                    <a:pt x="453" y="211"/>
                  </a:cubicBezTo>
                  <a:cubicBezTo>
                    <a:pt x="455" y="249"/>
                    <a:pt x="447" y="284"/>
                    <a:pt x="433" y="314"/>
                  </a:cubicBezTo>
                  <a:cubicBezTo>
                    <a:pt x="412" y="359"/>
                    <a:pt x="376" y="395"/>
                    <a:pt x="334" y="417"/>
                  </a:cubicBezTo>
                  <a:cubicBezTo>
                    <a:pt x="325" y="422"/>
                    <a:pt x="322" y="427"/>
                    <a:pt x="324" y="433"/>
                  </a:cubicBezTo>
                  <a:cubicBezTo>
                    <a:pt x="325" y="436"/>
                    <a:pt x="327" y="437"/>
                    <a:pt x="331" y="437"/>
                  </a:cubicBezTo>
                  <a:cubicBezTo>
                    <a:pt x="335" y="438"/>
                    <a:pt x="338" y="437"/>
                    <a:pt x="341" y="435"/>
                  </a:cubicBezTo>
                  <a:cubicBezTo>
                    <a:pt x="419" y="393"/>
                    <a:pt x="467" y="315"/>
                    <a:pt x="467" y="226"/>
                  </a:cubicBezTo>
                  <a:close/>
                  <a:moveTo>
                    <a:pt x="254" y="1"/>
                  </a:moveTo>
                  <a:cubicBezTo>
                    <a:pt x="245" y="0"/>
                    <a:pt x="228" y="6"/>
                    <a:pt x="228" y="13"/>
                  </a:cubicBezTo>
                  <a:cubicBezTo>
                    <a:pt x="229" y="17"/>
                    <a:pt x="232" y="18"/>
                    <a:pt x="235" y="19"/>
                  </a:cubicBezTo>
                  <a:cubicBezTo>
                    <a:pt x="242" y="19"/>
                    <a:pt x="260" y="15"/>
                    <a:pt x="260" y="7"/>
                  </a:cubicBezTo>
                  <a:cubicBezTo>
                    <a:pt x="260" y="3"/>
                    <a:pt x="257" y="2"/>
                    <a:pt x="254" y="1"/>
                  </a:cubicBezTo>
                  <a:close/>
                  <a:moveTo>
                    <a:pt x="326" y="17"/>
                  </a:moveTo>
                  <a:cubicBezTo>
                    <a:pt x="320" y="16"/>
                    <a:pt x="306" y="20"/>
                    <a:pt x="306" y="27"/>
                  </a:cubicBezTo>
                  <a:cubicBezTo>
                    <a:pt x="305" y="31"/>
                    <a:pt x="311" y="33"/>
                    <a:pt x="314" y="33"/>
                  </a:cubicBezTo>
                  <a:cubicBezTo>
                    <a:pt x="320" y="33"/>
                    <a:pt x="333" y="30"/>
                    <a:pt x="334" y="22"/>
                  </a:cubicBezTo>
                  <a:cubicBezTo>
                    <a:pt x="334" y="18"/>
                    <a:pt x="329" y="17"/>
                    <a:pt x="326" y="17"/>
                  </a:cubicBezTo>
                  <a:close/>
                  <a:moveTo>
                    <a:pt x="250" y="92"/>
                  </a:moveTo>
                  <a:cubicBezTo>
                    <a:pt x="241" y="91"/>
                    <a:pt x="221" y="103"/>
                    <a:pt x="221" y="113"/>
                  </a:cubicBezTo>
                  <a:cubicBezTo>
                    <a:pt x="220" y="117"/>
                    <a:pt x="224" y="119"/>
                    <a:pt x="227" y="119"/>
                  </a:cubicBezTo>
                  <a:cubicBezTo>
                    <a:pt x="237" y="119"/>
                    <a:pt x="257" y="108"/>
                    <a:pt x="257" y="97"/>
                  </a:cubicBezTo>
                  <a:cubicBezTo>
                    <a:pt x="257" y="93"/>
                    <a:pt x="254" y="92"/>
                    <a:pt x="250" y="92"/>
                  </a:cubicBezTo>
                  <a:close/>
                  <a:moveTo>
                    <a:pt x="291" y="71"/>
                  </a:moveTo>
                  <a:cubicBezTo>
                    <a:pt x="283" y="71"/>
                    <a:pt x="266" y="78"/>
                    <a:pt x="265" y="87"/>
                  </a:cubicBezTo>
                  <a:cubicBezTo>
                    <a:pt x="265" y="90"/>
                    <a:pt x="268" y="92"/>
                    <a:pt x="271" y="92"/>
                  </a:cubicBezTo>
                  <a:cubicBezTo>
                    <a:pt x="279" y="93"/>
                    <a:pt x="296" y="86"/>
                    <a:pt x="296" y="77"/>
                  </a:cubicBezTo>
                  <a:cubicBezTo>
                    <a:pt x="297" y="73"/>
                    <a:pt x="294" y="71"/>
                    <a:pt x="291" y="71"/>
                  </a:cubicBezTo>
                  <a:close/>
                  <a:moveTo>
                    <a:pt x="355" y="176"/>
                  </a:moveTo>
                  <a:cubicBezTo>
                    <a:pt x="348" y="176"/>
                    <a:pt x="341" y="184"/>
                    <a:pt x="341" y="190"/>
                  </a:cubicBezTo>
                  <a:cubicBezTo>
                    <a:pt x="341" y="194"/>
                    <a:pt x="343" y="197"/>
                    <a:pt x="347" y="197"/>
                  </a:cubicBezTo>
                  <a:cubicBezTo>
                    <a:pt x="354" y="197"/>
                    <a:pt x="360" y="188"/>
                    <a:pt x="360" y="182"/>
                  </a:cubicBezTo>
                  <a:cubicBezTo>
                    <a:pt x="360" y="178"/>
                    <a:pt x="358" y="176"/>
                    <a:pt x="355" y="176"/>
                  </a:cubicBezTo>
                  <a:close/>
                  <a:moveTo>
                    <a:pt x="327" y="56"/>
                  </a:moveTo>
                  <a:cubicBezTo>
                    <a:pt x="321" y="55"/>
                    <a:pt x="310" y="60"/>
                    <a:pt x="309" y="67"/>
                  </a:cubicBezTo>
                  <a:cubicBezTo>
                    <a:pt x="309" y="70"/>
                    <a:pt x="312" y="71"/>
                    <a:pt x="315" y="72"/>
                  </a:cubicBezTo>
                  <a:cubicBezTo>
                    <a:pt x="321" y="72"/>
                    <a:pt x="332" y="68"/>
                    <a:pt x="333" y="61"/>
                  </a:cubicBezTo>
                  <a:cubicBezTo>
                    <a:pt x="333" y="58"/>
                    <a:pt x="330" y="56"/>
                    <a:pt x="327" y="56"/>
                  </a:cubicBezTo>
                  <a:close/>
                  <a:moveTo>
                    <a:pt x="348" y="99"/>
                  </a:moveTo>
                  <a:cubicBezTo>
                    <a:pt x="342" y="99"/>
                    <a:pt x="336" y="109"/>
                    <a:pt x="336" y="115"/>
                  </a:cubicBezTo>
                  <a:cubicBezTo>
                    <a:pt x="336" y="117"/>
                    <a:pt x="337" y="120"/>
                    <a:pt x="340" y="120"/>
                  </a:cubicBezTo>
                  <a:cubicBezTo>
                    <a:pt x="347" y="120"/>
                    <a:pt x="353" y="110"/>
                    <a:pt x="353" y="105"/>
                  </a:cubicBezTo>
                  <a:cubicBezTo>
                    <a:pt x="353" y="102"/>
                    <a:pt x="351" y="99"/>
                    <a:pt x="348" y="99"/>
                  </a:cubicBezTo>
                  <a:close/>
                  <a:moveTo>
                    <a:pt x="326" y="206"/>
                  </a:moveTo>
                  <a:cubicBezTo>
                    <a:pt x="322" y="208"/>
                    <a:pt x="319" y="210"/>
                    <a:pt x="315" y="214"/>
                  </a:cubicBezTo>
                  <a:cubicBezTo>
                    <a:pt x="312" y="217"/>
                    <a:pt x="310" y="221"/>
                    <a:pt x="308" y="224"/>
                  </a:cubicBezTo>
                  <a:cubicBezTo>
                    <a:pt x="308" y="227"/>
                    <a:pt x="308" y="230"/>
                    <a:pt x="309" y="232"/>
                  </a:cubicBezTo>
                  <a:cubicBezTo>
                    <a:pt x="311" y="234"/>
                    <a:pt x="314" y="235"/>
                    <a:pt x="317" y="234"/>
                  </a:cubicBezTo>
                  <a:cubicBezTo>
                    <a:pt x="321" y="234"/>
                    <a:pt x="325" y="231"/>
                    <a:pt x="329" y="227"/>
                  </a:cubicBezTo>
                  <a:cubicBezTo>
                    <a:pt x="333" y="223"/>
                    <a:pt x="336" y="218"/>
                    <a:pt x="337" y="213"/>
                  </a:cubicBezTo>
                  <a:cubicBezTo>
                    <a:pt x="338" y="209"/>
                    <a:pt x="337" y="207"/>
                    <a:pt x="335" y="206"/>
                  </a:cubicBezTo>
                  <a:cubicBezTo>
                    <a:pt x="333" y="204"/>
                    <a:pt x="330" y="204"/>
                    <a:pt x="326" y="206"/>
                  </a:cubicBezTo>
                  <a:close/>
                  <a:moveTo>
                    <a:pt x="319" y="135"/>
                  </a:moveTo>
                  <a:cubicBezTo>
                    <a:pt x="317" y="137"/>
                    <a:pt x="315" y="140"/>
                    <a:pt x="314" y="142"/>
                  </a:cubicBezTo>
                  <a:cubicBezTo>
                    <a:pt x="313" y="144"/>
                    <a:pt x="312" y="147"/>
                    <a:pt x="312" y="149"/>
                  </a:cubicBezTo>
                  <a:cubicBezTo>
                    <a:pt x="312" y="152"/>
                    <a:pt x="314" y="155"/>
                    <a:pt x="317" y="155"/>
                  </a:cubicBezTo>
                  <a:cubicBezTo>
                    <a:pt x="319" y="155"/>
                    <a:pt x="321" y="154"/>
                    <a:pt x="324" y="153"/>
                  </a:cubicBezTo>
                  <a:cubicBezTo>
                    <a:pt x="326" y="151"/>
                    <a:pt x="328" y="149"/>
                    <a:pt x="330" y="147"/>
                  </a:cubicBezTo>
                  <a:cubicBezTo>
                    <a:pt x="332" y="145"/>
                    <a:pt x="334" y="142"/>
                    <a:pt x="335" y="140"/>
                  </a:cubicBezTo>
                  <a:cubicBezTo>
                    <a:pt x="336" y="138"/>
                    <a:pt x="337" y="135"/>
                    <a:pt x="337" y="133"/>
                  </a:cubicBezTo>
                  <a:cubicBezTo>
                    <a:pt x="337" y="130"/>
                    <a:pt x="335" y="128"/>
                    <a:pt x="332" y="128"/>
                  </a:cubicBezTo>
                  <a:cubicBezTo>
                    <a:pt x="327" y="128"/>
                    <a:pt x="323" y="131"/>
                    <a:pt x="319" y="135"/>
                  </a:cubicBezTo>
                  <a:close/>
                  <a:moveTo>
                    <a:pt x="201" y="401"/>
                  </a:moveTo>
                  <a:cubicBezTo>
                    <a:pt x="196" y="401"/>
                    <a:pt x="182" y="405"/>
                    <a:pt x="176" y="410"/>
                  </a:cubicBezTo>
                  <a:cubicBezTo>
                    <a:pt x="173" y="412"/>
                    <a:pt x="172" y="416"/>
                    <a:pt x="173" y="418"/>
                  </a:cubicBezTo>
                  <a:cubicBezTo>
                    <a:pt x="174" y="422"/>
                    <a:pt x="177" y="422"/>
                    <a:pt x="180" y="422"/>
                  </a:cubicBezTo>
                  <a:cubicBezTo>
                    <a:pt x="185" y="423"/>
                    <a:pt x="199" y="419"/>
                    <a:pt x="205" y="413"/>
                  </a:cubicBezTo>
                  <a:cubicBezTo>
                    <a:pt x="207" y="412"/>
                    <a:pt x="209" y="409"/>
                    <a:pt x="208" y="406"/>
                  </a:cubicBezTo>
                  <a:cubicBezTo>
                    <a:pt x="207" y="403"/>
                    <a:pt x="204" y="402"/>
                    <a:pt x="201" y="401"/>
                  </a:cubicBezTo>
                  <a:close/>
                  <a:moveTo>
                    <a:pt x="208" y="348"/>
                  </a:moveTo>
                  <a:cubicBezTo>
                    <a:pt x="202" y="348"/>
                    <a:pt x="188" y="353"/>
                    <a:pt x="182" y="358"/>
                  </a:cubicBezTo>
                  <a:cubicBezTo>
                    <a:pt x="179" y="361"/>
                    <a:pt x="178" y="364"/>
                    <a:pt x="179" y="367"/>
                  </a:cubicBezTo>
                  <a:cubicBezTo>
                    <a:pt x="180" y="371"/>
                    <a:pt x="183" y="371"/>
                    <a:pt x="186" y="371"/>
                  </a:cubicBezTo>
                  <a:cubicBezTo>
                    <a:pt x="192" y="371"/>
                    <a:pt x="206" y="367"/>
                    <a:pt x="213" y="360"/>
                  </a:cubicBezTo>
                  <a:cubicBezTo>
                    <a:pt x="215" y="358"/>
                    <a:pt x="216" y="355"/>
                    <a:pt x="215" y="352"/>
                  </a:cubicBezTo>
                  <a:cubicBezTo>
                    <a:pt x="214" y="349"/>
                    <a:pt x="211" y="348"/>
                    <a:pt x="208" y="348"/>
                  </a:cubicBezTo>
                  <a:close/>
                  <a:moveTo>
                    <a:pt x="309" y="393"/>
                  </a:moveTo>
                  <a:cubicBezTo>
                    <a:pt x="304" y="393"/>
                    <a:pt x="291" y="400"/>
                    <a:pt x="286" y="406"/>
                  </a:cubicBezTo>
                  <a:cubicBezTo>
                    <a:pt x="284" y="409"/>
                    <a:pt x="283" y="412"/>
                    <a:pt x="284" y="414"/>
                  </a:cubicBezTo>
                  <a:cubicBezTo>
                    <a:pt x="286" y="418"/>
                    <a:pt x="289" y="418"/>
                    <a:pt x="292" y="417"/>
                  </a:cubicBezTo>
                  <a:cubicBezTo>
                    <a:pt x="297" y="416"/>
                    <a:pt x="310" y="411"/>
                    <a:pt x="315" y="404"/>
                  </a:cubicBezTo>
                  <a:cubicBezTo>
                    <a:pt x="317" y="401"/>
                    <a:pt x="318" y="398"/>
                    <a:pt x="317" y="396"/>
                  </a:cubicBezTo>
                  <a:cubicBezTo>
                    <a:pt x="316" y="393"/>
                    <a:pt x="312" y="392"/>
                    <a:pt x="309" y="393"/>
                  </a:cubicBezTo>
                  <a:close/>
                  <a:moveTo>
                    <a:pt x="261" y="421"/>
                  </a:moveTo>
                  <a:cubicBezTo>
                    <a:pt x="255" y="421"/>
                    <a:pt x="243" y="425"/>
                    <a:pt x="238" y="430"/>
                  </a:cubicBezTo>
                  <a:cubicBezTo>
                    <a:pt x="236" y="432"/>
                    <a:pt x="235" y="435"/>
                    <a:pt x="236" y="437"/>
                  </a:cubicBezTo>
                  <a:cubicBezTo>
                    <a:pt x="237" y="440"/>
                    <a:pt x="239" y="440"/>
                    <a:pt x="242" y="440"/>
                  </a:cubicBezTo>
                  <a:cubicBezTo>
                    <a:pt x="247" y="440"/>
                    <a:pt x="259" y="437"/>
                    <a:pt x="265" y="431"/>
                  </a:cubicBezTo>
                  <a:cubicBezTo>
                    <a:pt x="266" y="430"/>
                    <a:pt x="267" y="427"/>
                    <a:pt x="267" y="425"/>
                  </a:cubicBezTo>
                  <a:cubicBezTo>
                    <a:pt x="266" y="422"/>
                    <a:pt x="263" y="421"/>
                    <a:pt x="261" y="421"/>
                  </a:cubicBezTo>
                  <a:close/>
                  <a:moveTo>
                    <a:pt x="149" y="419"/>
                  </a:moveTo>
                  <a:cubicBezTo>
                    <a:pt x="147" y="419"/>
                    <a:pt x="141" y="420"/>
                    <a:pt x="136" y="423"/>
                  </a:cubicBezTo>
                  <a:cubicBezTo>
                    <a:pt x="134" y="424"/>
                    <a:pt x="132" y="426"/>
                    <a:pt x="132" y="429"/>
                  </a:cubicBezTo>
                  <a:cubicBezTo>
                    <a:pt x="132" y="432"/>
                    <a:pt x="135" y="433"/>
                    <a:pt x="138" y="434"/>
                  </a:cubicBezTo>
                  <a:cubicBezTo>
                    <a:pt x="142" y="434"/>
                    <a:pt x="148" y="433"/>
                    <a:pt x="152" y="431"/>
                  </a:cubicBezTo>
                  <a:cubicBezTo>
                    <a:pt x="155" y="429"/>
                    <a:pt x="157" y="427"/>
                    <a:pt x="156" y="424"/>
                  </a:cubicBezTo>
                  <a:cubicBezTo>
                    <a:pt x="156" y="420"/>
                    <a:pt x="153" y="419"/>
                    <a:pt x="149" y="419"/>
                  </a:cubicBezTo>
                  <a:close/>
                  <a:moveTo>
                    <a:pt x="207" y="440"/>
                  </a:moveTo>
                  <a:cubicBezTo>
                    <a:pt x="205" y="440"/>
                    <a:pt x="199" y="441"/>
                    <a:pt x="195" y="444"/>
                  </a:cubicBezTo>
                  <a:cubicBezTo>
                    <a:pt x="193" y="446"/>
                    <a:pt x="191" y="448"/>
                    <a:pt x="191" y="450"/>
                  </a:cubicBezTo>
                  <a:cubicBezTo>
                    <a:pt x="192" y="453"/>
                    <a:pt x="194" y="455"/>
                    <a:pt x="197" y="455"/>
                  </a:cubicBezTo>
                  <a:cubicBezTo>
                    <a:pt x="202" y="455"/>
                    <a:pt x="207" y="454"/>
                    <a:pt x="211" y="451"/>
                  </a:cubicBezTo>
                  <a:cubicBezTo>
                    <a:pt x="213" y="450"/>
                    <a:pt x="214" y="447"/>
                    <a:pt x="214" y="445"/>
                  </a:cubicBezTo>
                  <a:cubicBezTo>
                    <a:pt x="214" y="441"/>
                    <a:pt x="210" y="440"/>
                    <a:pt x="207" y="440"/>
                  </a:cubicBezTo>
                  <a:close/>
                  <a:moveTo>
                    <a:pt x="257" y="144"/>
                  </a:moveTo>
                  <a:cubicBezTo>
                    <a:pt x="255" y="144"/>
                    <a:pt x="253" y="145"/>
                    <a:pt x="251" y="146"/>
                  </a:cubicBezTo>
                  <a:cubicBezTo>
                    <a:pt x="251" y="146"/>
                    <a:pt x="251" y="146"/>
                    <a:pt x="251" y="146"/>
                  </a:cubicBezTo>
                  <a:cubicBezTo>
                    <a:pt x="247" y="147"/>
                    <a:pt x="242" y="152"/>
                    <a:pt x="242" y="157"/>
                  </a:cubicBezTo>
                  <a:cubicBezTo>
                    <a:pt x="242" y="160"/>
                    <a:pt x="245" y="161"/>
                    <a:pt x="248" y="161"/>
                  </a:cubicBezTo>
                  <a:cubicBezTo>
                    <a:pt x="254" y="161"/>
                    <a:pt x="263" y="156"/>
                    <a:pt x="263" y="149"/>
                  </a:cubicBezTo>
                  <a:cubicBezTo>
                    <a:pt x="263" y="146"/>
                    <a:pt x="260" y="144"/>
                    <a:pt x="257" y="144"/>
                  </a:cubicBezTo>
                  <a:close/>
                  <a:moveTo>
                    <a:pt x="301" y="436"/>
                  </a:moveTo>
                  <a:cubicBezTo>
                    <a:pt x="297" y="436"/>
                    <a:pt x="290" y="437"/>
                    <a:pt x="285" y="441"/>
                  </a:cubicBezTo>
                  <a:cubicBezTo>
                    <a:pt x="282" y="443"/>
                    <a:pt x="280" y="446"/>
                    <a:pt x="280" y="449"/>
                  </a:cubicBezTo>
                  <a:cubicBezTo>
                    <a:pt x="281" y="452"/>
                    <a:pt x="284" y="453"/>
                    <a:pt x="288" y="453"/>
                  </a:cubicBezTo>
                  <a:cubicBezTo>
                    <a:pt x="293" y="453"/>
                    <a:pt x="300" y="451"/>
                    <a:pt x="304" y="449"/>
                  </a:cubicBezTo>
                  <a:cubicBezTo>
                    <a:pt x="307" y="447"/>
                    <a:pt x="309" y="444"/>
                    <a:pt x="308" y="441"/>
                  </a:cubicBezTo>
                  <a:cubicBezTo>
                    <a:pt x="307" y="437"/>
                    <a:pt x="303" y="436"/>
                    <a:pt x="301" y="436"/>
                  </a:cubicBezTo>
                  <a:close/>
                  <a:moveTo>
                    <a:pt x="96" y="416"/>
                  </a:moveTo>
                  <a:cubicBezTo>
                    <a:pt x="99" y="419"/>
                    <a:pt x="104" y="422"/>
                    <a:pt x="108" y="423"/>
                  </a:cubicBezTo>
                  <a:cubicBezTo>
                    <a:pt x="109" y="424"/>
                    <a:pt x="110" y="423"/>
                    <a:pt x="110" y="423"/>
                  </a:cubicBezTo>
                  <a:cubicBezTo>
                    <a:pt x="111" y="422"/>
                    <a:pt x="111" y="421"/>
                    <a:pt x="110" y="421"/>
                  </a:cubicBezTo>
                  <a:cubicBezTo>
                    <a:pt x="107" y="417"/>
                    <a:pt x="105" y="415"/>
                    <a:pt x="104" y="412"/>
                  </a:cubicBezTo>
                  <a:cubicBezTo>
                    <a:pt x="103" y="409"/>
                    <a:pt x="104" y="406"/>
                    <a:pt x="104" y="405"/>
                  </a:cubicBezTo>
                  <a:cubicBezTo>
                    <a:pt x="110" y="378"/>
                    <a:pt x="136" y="361"/>
                    <a:pt x="163" y="342"/>
                  </a:cubicBezTo>
                  <a:cubicBezTo>
                    <a:pt x="180" y="330"/>
                    <a:pt x="253" y="290"/>
                    <a:pt x="286" y="263"/>
                  </a:cubicBezTo>
                  <a:cubicBezTo>
                    <a:pt x="297" y="255"/>
                    <a:pt x="301" y="250"/>
                    <a:pt x="302" y="245"/>
                  </a:cubicBezTo>
                  <a:cubicBezTo>
                    <a:pt x="302" y="243"/>
                    <a:pt x="301" y="240"/>
                    <a:pt x="300" y="239"/>
                  </a:cubicBezTo>
                  <a:cubicBezTo>
                    <a:pt x="299" y="238"/>
                    <a:pt x="297" y="237"/>
                    <a:pt x="296" y="237"/>
                  </a:cubicBezTo>
                  <a:cubicBezTo>
                    <a:pt x="290" y="236"/>
                    <a:pt x="284" y="238"/>
                    <a:pt x="276" y="244"/>
                  </a:cubicBezTo>
                  <a:cubicBezTo>
                    <a:pt x="238" y="275"/>
                    <a:pt x="181" y="305"/>
                    <a:pt x="140" y="337"/>
                  </a:cubicBezTo>
                  <a:cubicBezTo>
                    <a:pt x="117" y="355"/>
                    <a:pt x="99" y="375"/>
                    <a:pt x="94" y="395"/>
                  </a:cubicBezTo>
                  <a:cubicBezTo>
                    <a:pt x="94" y="395"/>
                    <a:pt x="93" y="394"/>
                    <a:pt x="93" y="394"/>
                  </a:cubicBezTo>
                  <a:cubicBezTo>
                    <a:pt x="99" y="319"/>
                    <a:pt x="199" y="269"/>
                    <a:pt x="250" y="227"/>
                  </a:cubicBezTo>
                  <a:cubicBezTo>
                    <a:pt x="263" y="216"/>
                    <a:pt x="302" y="186"/>
                    <a:pt x="308" y="172"/>
                  </a:cubicBezTo>
                  <a:cubicBezTo>
                    <a:pt x="310" y="168"/>
                    <a:pt x="309" y="163"/>
                    <a:pt x="306" y="162"/>
                  </a:cubicBezTo>
                  <a:cubicBezTo>
                    <a:pt x="304" y="160"/>
                    <a:pt x="301" y="160"/>
                    <a:pt x="298" y="160"/>
                  </a:cubicBezTo>
                  <a:cubicBezTo>
                    <a:pt x="292" y="162"/>
                    <a:pt x="285" y="167"/>
                    <a:pt x="277" y="175"/>
                  </a:cubicBezTo>
                  <a:cubicBezTo>
                    <a:pt x="214" y="235"/>
                    <a:pt x="161" y="262"/>
                    <a:pt x="125" y="300"/>
                  </a:cubicBezTo>
                  <a:cubicBezTo>
                    <a:pt x="105" y="322"/>
                    <a:pt x="90" y="347"/>
                    <a:pt x="81" y="383"/>
                  </a:cubicBezTo>
                  <a:cubicBezTo>
                    <a:pt x="81" y="383"/>
                    <a:pt x="80" y="382"/>
                    <a:pt x="80" y="382"/>
                  </a:cubicBezTo>
                  <a:cubicBezTo>
                    <a:pt x="83" y="327"/>
                    <a:pt x="119" y="273"/>
                    <a:pt x="161" y="235"/>
                  </a:cubicBezTo>
                  <a:cubicBezTo>
                    <a:pt x="175" y="222"/>
                    <a:pt x="185" y="214"/>
                    <a:pt x="191" y="209"/>
                  </a:cubicBezTo>
                  <a:cubicBezTo>
                    <a:pt x="195" y="205"/>
                    <a:pt x="197" y="200"/>
                    <a:pt x="195" y="195"/>
                  </a:cubicBezTo>
                  <a:cubicBezTo>
                    <a:pt x="193" y="192"/>
                    <a:pt x="189" y="191"/>
                    <a:pt x="185" y="192"/>
                  </a:cubicBezTo>
                  <a:cubicBezTo>
                    <a:pt x="179" y="193"/>
                    <a:pt x="175" y="196"/>
                    <a:pt x="170" y="199"/>
                  </a:cubicBezTo>
                  <a:cubicBezTo>
                    <a:pt x="141" y="223"/>
                    <a:pt x="116" y="252"/>
                    <a:pt x="97" y="285"/>
                  </a:cubicBezTo>
                  <a:cubicBezTo>
                    <a:pt x="83" y="311"/>
                    <a:pt x="73" y="339"/>
                    <a:pt x="68" y="369"/>
                  </a:cubicBezTo>
                  <a:cubicBezTo>
                    <a:pt x="68" y="369"/>
                    <a:pt x="67" y="368"/>
                    <a:pt x="67" y="367"/>
                  </a:cubicBezTo>
                  <a:cubicBezTo>
                    <a:pt x="70" y="284"/>
                    <a:pt x="108" y="222"/>
                    <a:pt x="162" y="174"/>
                  </a:cubicBezTo>
                  <a:cubicBezTo>
                    <a:pt x="175" y="162"/>
                    <a:pt x="187" y="155"/>
                    <a:pt x="200" y="144"/>
                  </a:cubicBezTo>
                  <a:cubicBezTo>
                    <a:pt x="211" y="136"/>
                    <a:pt x="213" y="129"/>
                    <a:pt x="210" y="124"/>
                  </a:cubicBezTo>
                  <a:cubicBezTo>
                    <a:pt x="207" y="120"/>
                    <a:pt x="203" y="120"/>
                    <a:pt x="197" y="122"/>
                  </a:cubicBezTo>
                  <a:cubicBezTo>
                    <a:pt x="186" y="125"/>
                    <a:pt x="174" y="136"/>
                    <a:pt x="160" y="149"/>
                  </a:cubicBezTo>
                  <a:cubicBezTo>
                    <a:pt x="126" y="179"/>
                    <a:pt x="99" y="211"/>
                    <a:pt x="81" y="250"/>
                  </a:cubicBezTo>
                  <a:cubicBezTo>
                    <a:pt x="67" y="279"/>
                    <a:pt x="58" y="313"/>
                    <a:pt x="56" y="353"/>
                  </a:cubicBezTo>
                  <a:cubicBezTo>
                    <a:pt x="55" y="352"/>
                    <a:pt x="55" y="351"/>
                    <a:pt x="54" y="351"/>
                  </a:cubicBezTo>
                  <a:cubicBezTo>
                    <a:pt x="53" y="341"/>
                    <a:pt x="54" y="328"/>
                    <a:pt x="54" y="318"/>
                  </a:cubicBezTo>
                  <a:cubicBezTo>
                    <a:pt x="57" y="279"/>
                    <a:pt x="63" y="197"/>
                    <a:pt x="175" y="106"/>
                  </a:cubicBezTo>
                  <a:cubicBezTo>
                    <a:pt x="195" y="90"/>
                    <a:pt x="228" y="71"/>
                    <a:pt x="251" y="59"/>
                  </a:cubicBezTo>
                  <a:cubicBezTo>
                    <a:pt x="258" y="55"/>
                    <a:pt x="265" y="52"/>
                    <a:pt x="272" y="48"/>
                  </a:cubicBezTo>
                  <a:cubicBezTo>
                    <a:pt x="276" y="45"/>
                    <a:pt x="278" y="41"/>
                    <a:pt x="277" y="37"/>
                  </a:cubicBezTo>
                  <a:cubicBezTo>
                    <a:pt x="276" y="33"/>
                    <a:pt x="272" y="33"/>
                    <a:pt x="268" y="33"/>
                  </a:cubicBezTo>
                  <a:cubicBezTo>
                    <a:pt x="261" y="33"/>
                    <a:pt x="255" y="36"/>
                    <a:pt x="248" y="39"/>
                  </a:cubicBezTo>
                  <a:cubicBezTo>
                    <a:pt x="196" y="65"/>
                    <a:pt x="137" y="103"/>
                    <a:pt x="95" y="161"/>
                  </a:cubicBezTo>
                  <a:cubicBezTo>
                    <a:pt x="63" y="205"/>
                    <a:pt x="42" y="260"/>
                    <a:pt x="41" y="329"/>
                  </a:cubicBezTo>
                  <a:cubicBezTo>
                    <a:pt x="40" y="328"/>
                    <a:pt x="40" y="328"/>
                    <a:pt x="40" y="327"/>
                  </a:cubicBezTo>
                  <a:cubicBezTo>
                    <a:pt x="37" y="310"/>
                    <a:pt x="36" y="293"/>
                    <a:pt x="37" y="281"/>
                  </a:cubicBezTo>
                  <a:cubicBezTo>
                    <a:pt x="39" y="172"/>
                    <a:pt x="103" y="97"/>
                    <a:pt x="191" y="45"/>
                  </a:cubicBezTo>
                  <a:cubicBezTo>
                    <a:pt x="198" y="41"/>
                    <a:pt x="206" y="36"/>
                    <a:pt x="206" y="29"/>
                  </a:cubicBezTo>
                  <a:cubicBezTo>
                    <a:pt x="206" y="25"/>
                    <a:pt x="203" y="23"/>
                    <a:pt x="199" y="23"/>
                  </a:cubicBezTo>
                  <a:cubicBezTo>
                    <a:pt x="195" y="23"/>
                    <a:pt x="191" y="24"/>
                    <a:pt x="185" y="27"/>
                  </a:cubicBezTo>
                  <a:cubicBezTo>
                    <a:pt x="131" y="56"/>
                    <a:pt x="87" y="96"/>
                    <a:pt x="59" y="145"/>
                  </a:cubicBezTo>
                  <a:cubicBezTo>
                    <a:pt x="35" y="186"/>
                    <a:pt x="22" y="234"/>
                    <a:pt x="24" y="287"/>
                  </a:cubicBezTo>
                  <a:cubicBezTo>
                    <a:pt x="24" y="286"/>
                    <a:pt x="24" y="285"/>
                    <a:pt x="23" y="283"/>
                  </a:cubicBezTo>
                  <a:cubicBezTo>
                    <a:pt x="19" y="266"/>
                    <a:pt x="16" y="248"/>
                    <a:pt x="16" y="230"/>
                  </a:cubicBezTo>
                  <a:cubicBezTo>
                    <a:pt x="16" y="205"/>
                    <a:pt x="21" y="181"/>
                    <a:pt x="29" y="159"/>
                  </a:cubicBezTo>
                  <a:cubicBezTo>
                    <a:pt x="40" y="130"/>
                    <a:pt x="57" y="103"/>
                    <a:pt x="79" y="80"/>
                  </a:cubicBezTo>
                  <a:cubicBezTo>
                    <a:pt x="85" y="73"/>
                    <a:pt x="100" y="61"/>
                    <a:pt x="103" y="57"/>
                  </a:cubicBezTo>
                  <a:cubicBezTo>
                    <a:pt x="106" y="53"/>
                    <a:pt x="108" y="49"/>
                    <a:pt x="106" y="46"/>
                  </a:cubicBezTo>
                  <a:cubicBezTo>
                    <a:pt x="105" y="44"/>
                    <a:pt x="103" y="43"/>
                    <a:pt x="100" y="43"/>
                  </a:cubicBezTo>
                  <a:cubicBezTo>
                    <a:pt x="88" y="43"/>
                    <a:pt x="71" y="61"/>
                    <a:pt x="63" y="69"/>
                  </a:cubicBezTo>
                  <a:cubicBezTo>
                    <a:pt x="23" y="112"/>
                    <a:pt x="0" y="168"/>
                    <a:pt x="0" y="226"/>
                  </a:cubicBezTo>
                  <a:cubicBezTo>
                    <a:pt x="0" y="295"/>
                    <a:pt x="30" y="367"/>
                    <a:pt x="96" y="416"/>
                  </a:cubicBezTo>
                  <a:close/>
                  <a:moveTo>
                    <a:pt x="168" y="9"/>
                  </a:moveTo>
                  <a:cubicBezTo>
                    <a:pt x="168" y="8"/>
                    <a:pt x="166" y="7"/>
                    <a:pt x="164" y="7"/>
                  </a:cubicBezTo>
                  <a:cubicBezTo>
                    <a:pt x="157" y="7"/>
                    <a:pt x="150" y="10"/>
                    <a:pt x="148" y="14"/>
                  </a:cubicBezTo>
                  <a:cubicBezTo>
                    <a:pt x="148" y="15"/>
                    <a:pt x="148" y="17"/>
                    <a:pt x="148" y="18"/>
                  </a:cubicBezTo>
                  <a:cubicBezTo>
                    <a:pt x="149" y="20"/>
                    <a:pt x="150" y="20"/>
                    <a:pt x="151" y="20"/>
                  </a:cubicBezTo>
                  <a:cubicBezTo>
                    <a:pt x="156" y="21"/>
                    <a:pt x="165" y="18"/>
                    <a:pt x="167" y="14"/>
                  </a:cubicBezTo>
                  <a:cubicBezTo>
                    <a:pt x="168" y="13"/>
                    <a:pt x="169" y="11"/>
                    <a:pt x="168" y="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D4F53"/>
                </a:solidFill>
              </a:endParaRPr>
            </a:p>
          </p:txBody>
        </p:sp>
        <p:sp>
          <p:nvSpPr>
            <p:cNvPr id="15" name="Freeform 7"/>
            <p:cNvSpPr>
              <a:spLocks noEditPoints="1"/>
            </p:cNvSpPr>
            <p:nvPr/>
          </p:nvSpPr>
          <p:spPr bwMode="auto">
            <a:xfrm>
              <a:off x="188777" y="3173414"/>
              <a:ext cx="5984875" cy="674687"/>
            </a:xfrm>
            <a:custGeom>
              <a:avLst/>
              <a:gdLst>
                <a:gd name="T0" fmla="*/ 85 w 1594"/>
                <a:gd name="T1" fmla="*/ 3 h 179"/>
                <a:gd name="T2" fmla="*/ 77 w 1594"/>
                <a:gd name="T3" fmla="*/ 135 h 179"/>
                <a:gd name="T4" fmla="*/ 184 w 1594"/>
                <a:gd name="T5" fmla="*/ 122 h 179"/>
                <a:gd name="T6" fmla="*/ 151 w 1594"/>
                <a:gd name="T7" fmla="*/ 127 h 179"/>
                <a:gd name="T8" fmla="*/ 207 w 1594"/>
                <a:gd name="T9" fmla="*/ 85 h 179"/>
                <a:gd name="T10" fmla="*/ 192 w 1594"/>
                <a:gd name="T11" fmla="*/ 53 h 179"/>
                <a:gd name="T12" fmla="*/ 253 w 1594"/>
                <a:gd name="T13" fmla="*/ 1 h 179"/>
                <a:gd name="T14" fmla="*/ 269 w 1594"/>
                <a:gd name="T15" fmla="*/ 31 h 179"/>
                <a:gd name="T16" fmla="*/ 271 w 1594"/>
                <a:gd name="T17" fmla="*/ 133 h 179"/>
                <a:gd name="T18" fmla="*/ 249 w 1594"/>
                <a:gd name="T19" fmla="*/ 39 h 179"/>
                <a:gd name="T20" fmla="*/ 318 w 1594"/>
                <a:gd name="T21" fmla="*/ 44 h 179"/>
                <a:gd name="T22" fmla="*/ 308 w 1594"/>
                <a:gd name="T23" fmla="*/ 82 h 179"/>
                <a:gd name="T24" fmla="*/ 381 w 1594"/>
                <a:gd name="T25" fmla="*/ 60 h 179"/>
                <a:gd name="T26" fmla="*/ 419 w 1594"/>
                <a:gd name="T27" fmla="*/ 118 h 179"/>
                <a:gd name="T28" fmla="*/ 391 w 1594"/>
                <a:gd name="T29" fmla="*/ 117 h 179"/>
                <a:gd name="T30" fmla="*/ 497 w 1594"/>
                <a:gd name="T31" fmla="*/ 41 h 179"/>
                <a:gd name="T32" fmla="*/ 583 w 1594"/>
                <a:gd name="T33" fmla="*/ 39 h 179"/>
                <a:gd name="T34" fmla="*/ 585 w 1594"/>
                <a:gd name="T35" fmla="*/ 73 h 179"/>
                <a:gd name="T36" fmla="*/ 529 w 1594"/>
                <a:gd name="T37" fmla="*/ 136 h 179"/>
                <a:gd name="T38" fmla="*/ 497 w 1594"/>
                <a:gd name="T39" fmla="*/ 75 h 179"/>
                <a:gd name="T40" fmla="*/ 662 w 1594"/>
                <a:gd name="T41" fmla="*/ 122 h 179"/>
                <a:gd name="T42" fmla="*/ 629 w 1594"/>
                <a:gd name="T43" fmla="*/ 127 h 179"/>
                <a:gd name="T44" fmla="*/ 685 w 1594"/>
                <a:gd name="T45" fmla="*/ 85 h 179"/>
                <a:gd name="T46" fmla="*/ 670 w 1594"/>
                <a:gd name="T47" fmla="*/ 53 h 179"/>
                <a:gd name="T48" fmla="*/ 772 w 1594"/>
                <a:gd name="T49" fmla="*/ 41 h 179"/>
                <a:gd name="T50" fmla="*/ 813 w 1594"/>
                <a:gd name="T51" fmla="*/ 41 h 179"/>
                <a:gd name="T52" fmla="*/ 799 w 1594"/>
                <a:gd name="T53" fmla="*/ 120 h 179"/>
                <a:gd name="T54" fmla="*/ 759 w 1594"/>
                <a:gd name="T55" fmla="*/ 116 h 179"/>
                <a:gd name="T56" fmla="*/ 869 w 1594"/>
                <a:gd name="T57" fmla="*/ 39 h 179"/>
                <a:gd name="T58" fmla="*/ 883 w 1594"/>
                <a:gd name="T59" fmla="*/ 91 h 179"/>
                <a:gd name="T60" fmla="*/ 955 w 1594"/>
                <a:gd name="T61" fmla="*/ 81 h 179"/>
                <a:gd name="T62" fmla="*/ 977 w 1594"/>
                <a:gd name="T63" fmla="*/ 49 h 179"/>
                <a:gd name="T64" fmla="*/ 973 w 1594"/>
                <a:gd name="T65" fmla="*/ 137 h 179"/>
                <a:gd name="T66" fmla="*/ 971 w 1594"/>
                <a:gd name="T67" fmla="*/ 122 h 179"/>
                <a:gd name="T68" fmla="*/ 976 w 1594"/>
                <a:gd name="T69" fmla="*/ 75 h 179"/>
                <a:gd name="T70" fmla="*/ 1127 w 1594"/>
                <a:gd name="T71" fmla="*/ 48 h 179"/>
                <a:gd name="T72" fmla="*/ 1118 w 1594"/>
                <a:gd name="T73" fmla="*/ 75 h 179"/>
                <a:gd name="T74" fmla="*/ 1168 w 1594"/>
                <a:gd name="T75" fmla="*/ 88 h 179"/>
                <a:gd name="T76" fmla="*/ 1213 w 1594"/>
                <a:gd name="T77" fmla="*/ 58 h 179"/>
                <a:gd name="T78" fmla="*/ 1209 w 1594"/>
                <a:gd name="T79" fmla="*/ 94 h 179"/>
                <a:gd name="T80" fmla="*/ 1158 w 1594"/>
                <a:gd name="T81" fmla="*/ 121 h 179"/>
                <a:gd name="T82" fmla="*/ 1247 w 1594"/>
                <a:gd name="T83" fmla="*/ 88 h 179"/>
                <a:gd name="T84" fmla="*/ 1293 w 1594"/>
                <a:gd name="T85" fmla="*/ 58 h 179"/>
                <a:gd name="T86" fmla="*/ 1288 w 1594"/>
                <a:gd name="T87" fmla="*/ 94 h 179"/>
                <a:gd name="T88" fmla="*/ 1238 w 1594"/>
                <a:gd name="T89" fmla="*/ 121 h 179"/>
                <a:gd name="T90" fmla="*/ 1315 w 1594"/>
                <a:gd name="T91" fmla="*/ 56 h 179"/>
                <a:gd name="T92" fmla="*/ 1326 w 1594"/>
                <a:gd name="T93" fmla="*/ 22 h 179"/>
                <a:gd name="T94" fmla="*/ 1336 w 1594"/>
                <a:gd name="T95" fmla="*/ 22 h 179"/>
                <a:gd name="T96" fmla="*/ 1395 w 1594"/>
                <a:gd name="T97" fmla="*/ 0 h 179"/>
                <a:gd name="T98" fmla="*/ 1423 w 1594"/>
                <a:gd name="T99" fmla="*/ 39 h 179"/>
                <a:gd name="T100" fmla="*/ 1381 w 1594"/>
                <a:gd name="T101" fmla="*/ 121 h 179"/>
                <a:gd name="T102" fmla="*/ 1397 w 1594"/>
                <a:gd name="T103" fmla="*/ 63 h 179"/>
                <a:gd name="T104" fmla="*/ 1491 w 1594"/>
                <a:gd name="T105" fmla="*/ 0 h 179"/>
                <a:gd name="T106" fmla="*/ 1482 w 1594"/>
                <a:gd name="T107" fmla="*/ 113 h 179"/>
                <a:gd name="T108" fmla="*/ 1493 w 1594"/>
                <a:gd name="T109" fmla="*/ 136 h 179"/>
                <a:gd name="T110" fmla="*/ 1538 w 1594"/>
                <a:gd name="T111" fmla="*/ 116 h 179"/>
                <a:gd name="T112" fmla="*/ 1535 w 1594"/>
                <a:gd name="T113" fmla="*/ 134 h 179"/>
                <a:gd name="T114" fmla="*/ 1590 w 1594"/>
                <a:gd name="T115" fmla="*/ 75 h 179"/>
                <a:gd name="T116" fmla="*/ 1573 w 1594"/>
                <a:gd name="T117" fmla="*/ 5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94" h="179">
                  <a:moveTo>
                    <a:pt x="0" y="3"/>
                  </a:moveTo>
                  <a:cubicBezTo>
                    <a:pt x="2" y="3"/>
                    <a:pt x="4" y="3"/>
                    <a:pt x="6" y="3"/>
                  </a:cubicBezTo>
                  <a:cubicBezTo>
                    <a:pt x="8" y="3"/>
                    <a:pt x="10" y="3"/>
                    <a:pt x="12" y="3"/>
                  </a:cubicBezTo>
                  <a:cubicBezTo>
                    <a:pt x="15" y="3"/>
                    <a:pt x="18" y="3"/>
                    <a:pt x="20" y="3"/>
                  </a:cubicBezTo>
                  <a:cubicBezTo>
                    <a:pt x="22" y="111"/>
                    <a:pt x="22" y="111"/>
                    <a:pt x="22" y="111"/>
                  </a:cubicBezTo>
                  <a:cubicBezTo>
                    <a:pt x="66" y="3"/>
                    <a:pt x="66" y="3"/>
                    <a:pt x="66" y="3"/>
                  </a:cubicBezTo>
                  <a:cubicBezTo>
                    <a:pt x="67" y="3"/>
                    <a:pt x="69" y="3"/>
                    <a:pt x="71" y="3"/>
                  </a:cubicBezTo>
                  <a:cubicBezTo>
                    <a:pt x="73" y="3"/>
                    <a:pt x="74" y="3"/>
                    <a:pt x="76" y="3"/>
                  </a:cubicBezTo>
                  <a:cubicBezTo>
                    <a:pt x="77" y="3"/>
                    <a:pt x="79" y="3"/>
                    <a:pt x="81" y="3"/>
                  </a:cubicBezTo>
                  <a:cubicBezTo>
                    <a:pt x="82" y="3"/>
                    <a:pt x="84" y="3"/>
                    <a:pt x="85" y="3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132" y="3"/>
                    <a:pt x="132" y="3"/>
                    <a:pt x="132" y="3"/>
                  </a:cubicBezTo>
                  <a:cubicBezTo>
                    <a:pt x="134" y="3"/>
                    <a:pt x="138" y="3"/>
                    <a:pt x="141" y="3"/>
                  </a:cubicBezTo>
                  <a:cubicBezTo>
                    <a:pt x="143" y="3"/>
                    <a:pt x="144" y="3"/>
                    <a:pt x="146" y="3"/>
                  </a:cubicBezTo>
                  <a:cubicBezTo>
                    <a:pt x="148" y="3"/>
                    <a:pt x="149" y="3"/>
                    <a:pt x="151" y="3"/>
                  </a:cubicBezTo>
                  <a:cubicBezTo>
                    <a:pt x="99" y="135"/>
                    <a:pt x="99" y="135"/>
                    <a:pt x="99" y="135"/>
                  </a:cubicBezTo>
                  <a:cubicBezTo>
                    <a:pt x="97" y="135"/>
                    <a:pt x="95" y="135"/>
                    <a:pt x="93" y="135"/>
                  </a:cubicBezTo>
                  <a:cubicBezTo>
                    <a:pt x="91" y="136"/>
                    <a:pt x="89" y="136"/>
                    <a:pt x="88" y="136"/>
                  </a:cubicBezTo>
                  <a:cubicBezTo>
                    <a:pt x="86" y="136"/>
                    <a:pt x="84" y="136"/>
                    <a:pt x="82" y="135"/>
                  </a:cubicBezTo>
                  <a:cubicBezTo>
                    <a:pt x="80" y="135"/>
                    <a:pt x="79" y="135"/>
                    <a:pt x="77" y="135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28" y="135"/>
                    <a:pt x="28" y="135"/>
                    <a:pt x="28" y="135"/>
                  </a:cubicBezTo>
                  <a:cubicBezTo>
                    <a:pt x="26" y="135"/>
                    <a:pt x="24" y="135"/>
                    <a:pt x="22" y="135"/>
                  </a:cubicBezTo>
                  <a:cubicBezTo>
                    <a:pt x="20" y="136"/>
                    <a:pt x="18" y="136"/>
                    <a:pt x="16" y="136"/>
                  </a:cubicBezTo>
                  <a:cubicBezTo>
                    <a:pt x="15" y="136"/>
                    <a:pt x="13" y="136"/>
                    <a:pt x="11" y="135"/>
                  </a:cubicBezTo>
                  <a:cubicBezTo>
                    <a:pt x="10" y="135"/>
                    <a:pt x="8" y="135"/>
                    <a:pt x="7" y="135"/>
                  </a:cubicBezTo>
                  <a:lnTo>
                    <a:pt x="0" y="3"/>
                  </a:lnTo>
                  <a:close/>
                  <a:moveTo>
                    <a:pt x="160" y="98"/>
                  </a:moveTo>
                  <a:cubicBezTo>
                    <a:pt x="161" y="106"/>
                    <a:pt x="163" y="112"/>
                    <a:pt x="166" y="116"/>
                  </a:cubicBezTo>
                  <a:cubicBezTo>
                    <a:pt x="170" y="120"/>
                    <a:pt x="176" y="122"/>
                    <a:pt x="184" y="122"/>
                  </a:cubicBezTo>
                  <a:cubicBezTo>
                    <a:pt x="189" y="122"/>
                    <a:pt x="194" y="122"/>
                    <a:pt x="198" y="121"/>
                  </a:cubicBezTo>
                  <a:cubicBezTo>
                    <a:pt x="202" y="120"/>
                    <a:pt x="206" y="118"/>
                    <a:pt x="210" y="117"/>
                  </a:cubicBezTo>
                  <a:cubicBezTo>
                    <a:pt x="211" y="119"/>
                    <a:pt x="212" y="121"/>
                    <a:pt x="212" y="124"/>
                  </a:cubicBezTo>
                  <a:cubicBezTo>
                    <a:pt x="213" y="126"/>
                    <a:pt x="213" y="129"/>
                    <a:pt x="213" y="131"/>
                  </a:cubicBezTo>
                  <a:cubicBezTo>
                    <a:pt x="211" y="132"/>
                    <a:pt x="209" y="133"/>
                    <a:pt x="206" y="134"/>
                  </a:cubicBezTo>
                  <a:cubicBezTo>
                    <a:pt x="204" y="134"/>
                    <a:pt x="201" y="135"/>
                    <a:pt x="198" y="135"/>
                  </a:cubicBezTo>
                  <a:cubicBezTo>
                    <a:pt x="195" y="136"/>
                    <a:pt x="192" y="136"/>
                    <a:pt x="189" y="137"/>
                  </a:cubicBezTo>
                  <a:cubicBezTo>
                    <a:pt x="186" y="137"/>
                    <a:pt x="184" y="137"/>
                    <a:pt x="181" y="137"/>
                  </a:cubicBezTo>
                  <a:cubicBezTo>
                    <a:pt x="174" y="137"/>
                    <a:pt x="168" y="136"/>
                    <a:pt x="163" y="134"/>
                  </a:cubicBezTo>
                  <a:cubicBezTo>
                    <a:pt x="158" y="132"/>
                    <a:pt x="154" y="130"/>
                    <a:pt x="151" y="127"/>
                  </a:cubicBezTo>
                  <a:cubicBezTo>
                    <a:pt x="148" y="123"/>
                    <a:pt x="146" y="119"/>
                    <a:pt x="144" y="115"/>
                  </a:cubicBezTo>
                  <a:cubicBezTo>
                    <a:pt x="143" y="110"/>
                    <a:pt x="142" y="105"/>
                    <a:pt x="142" y="100"/>
                  </a:cubicBezTo>
                  <a:cubicBezTo>
                    <a:pt x="142" y="92"/>
                    <a:pt x="143" y="85"/>
                    <a:pt x="146" y="78"/>
                  </a:cubicBezTo>
                  <a:cubicBezTo>
                    <a:pt x="148" y="70"/>
                    <a:pt x="152" y="64"/>
                    <a:pt x="157" y="58"/>
                  </a:cubicBezTo>
                  <a:cubicBezTo>
                    <a:pt x="161" y="52"/>
                    <a:pt x="167" y="48"/>
                    <a:pt x="174" y="44"/>
                  </a:cubicBezTo>
                  <a:cubicBezTo>
                    <a:pt x="180" y="41"/>
                    <a:pt x="187" y="39"/>
                    <a:pt x="195" y="39"/>
                  </a:cubicBezTo>
                  <a:cubicBezTo>
                    <a:pt x="203" y="39"/>
                    <a:pt x="210" y="41"/>
                    <a:pt x="215" y="45"/>
                  </a:cubicBezTo>
                  <a:cubicBezTo>
                    <a:pt x="219" y="49"/>
                    <a:pt x="222" y="54"/>
                    <a:pt x="222" y="61"/>
                  </a:cubicBezTo>
                  <a:cubicBezTo>
                    <a:pt x="222" y="66"/>
                    <a:pt x="220" y="71"/>
                    <a:pt x="218" y="75"/>
                  </a:cubicBezTo>
                  <a:cubicBezTo>
                    <a:pt x="215" y="79"/>
                    <a:pt x="211" y="82"/>
                    <a:pt x="207" y="85"/>
                  </a:cubicBezTo>
                  <a:cubicBezTo>
                    <a:pt x="202" y="88"/>
                    <a:pt x="197" y="90"/>
                    <a:pt x="190" y="92"/>
                  </a:cubicBezTo>
                  <a:cubicBezTo>
                    <a:pt x="184" y="94"/>
                    <a:pt x="177" y="95"/>
                    <a:pt x="170" y="96"/>
                  </a:cubicBezTo>
                  <a:lnTo>
                    <a:pt x="160" y="98"/>
                  </a:lnTo>
                  <a:close/>
                  <a:moveTo>
                    <a:pt x="172" y="82"/>
                  </a:moveTo>
                  <a:cubicBezTo>
                    <a:pt x="178" y="81"/>
                    <a:pt x="183" y="80"/>
                    <a:pt x="187" y="79"/>
                  </a:cubicBezTo>
                  <a:cubicBezTo>
                    <a:pt x="191" y="77"/>
                    <a:pt x="195" y="76"/>
                    <a:pt x="197" y="74"/>
                  </a:cubicBezTo>
                  <a:cubicBezTo>
                    <a:pt x="199" y="72"/>
                    <a:pt x="201" y="71"/>
                    <a:pt x="202" y="69"/>
                  </a:cubicBezTo>
                  <a:cubicBezTo>
                    <a:pt x="203" y="67"/>
                    <a:pt x="204" y="65"/>
                    <a:pt x="204" y="63"/>
                  </a:cubicBezTo>
                  <a:cubicBezTo>
                    <a:pt x="204" y="60"/>
                    <a:pt x="203" y="58"/>
                    <a:pt x="201" y="56"/>
                  </a:cubicBezTo>
                  <a:cubicBezTo>
                    <a:pt x="199" y="54"/>
                    <a:pt x="196" y="53"/>
                    <a:pt x="192" y="53"/>
                  </a:cubicBezTo>
                  <a:cubicBezTo>
                    <a:pt x="188" y="53"/>
                    <a:pt x="185" y="54"/>
                    <a:pt x="182" y="56"/>
                  </a:cubicBezTo>
                  <a:cubicBezTo>
                    <a:pt x="178" y="58"/>
                    <a:pt x="175" y="60"/>
                    <a:pt x="173" y="63"/>
                  </a:cubicBezTo>
                  <a:cubicBezTo>
                    <a:pt x="170" y="66"/>
                    <a:pt x="168" y="69"/>
                    <a:pt x="166" y="73"/>
                  </a:cubicBezTo>
                  <a:cubicBezTo>
                    <a:pt x="164" y="76"/>
                    <a:pt x="163" y="80"/>
                    <a:pt x="162" y="84"/>
                  </a:cubicBezTo>
                  <a:lnTo>
                    <a:pt x="172" y="82"/>
                  </a:lnTo>
                  <a:close/>
                  <a:moveTo>
                    <a:pt x="249" y="39"/>
                  </a:moveTo>
                  <a:cubicBezTo>
                    <a:pt x="250" y="32"/>
                    <a:pt x="251" y="26"/>
                    <a:pt x="252" y="21"/>
                  </a:cubicBezTo>
                  <a:cubicBezTo>
                    <a:pt x="253" y="16"/>
                    <a:pt x="253" y="11"/>
                    <a:pt x="253" y="8"/>
                  </a:cubicBezTo>
                  <a:cubicBezTo>
                    <a:pt x="253" y="6"/>
                    <a:pt x="253" y="5"/>
                    <a:pt x="253" y="4"/>
                  </a:cubicBezTo>
                  <a:cubicBezTo>
                    <a:pt x="253" y="3"/>
                    <a:pt x="253" y="2"/>
                    <a:pt x="253" y="1"/>
                  </a:cubicBezTo>
                  <a:cubicBezTo>
                    <a:pt x="254" y="1"/>
                    <a:pt x="256" y="0"/>
                    <a:pt x="258" y="0"/>
                  </a:cubicBezTo>
                  <a:cubicBezTo>
                    <a:pt x="260" y="0"/>
                    <a:pt x="261" y="0"/>
                    <a:pt x="263" y="0"/>
                  </a:cubicBezTo>
                  <a:cubicBezTo>
                    <a:pt x="264" y="0"/>
                    <a:pt x="265" y="0"/>
                    <a:pt x="267" y="0"/>
                  </a:cubicBezTo>
                  <a:cubicBezTo>
                    <a:pt x="268" y="0"/>
                    <a:pt x="270" y="1"/>
                    <a:pt x="271" y="1"/>
                  </a:cubicBezTo>
                  <a:cubicBezTo>
                    <a:pt x="271" y="2"/>
                    <a:pt x="271" y="3"/>
                    <a:pt x="271" y="4"/>
                  </a:cubicBezTo>
                  <a:cubicBezTo>
                    <a:pt x="271" y="5"/>
                    <a:pt x="271" y="6"/>
                    <a:pt x="271" y="8"/>
                  </a:cubicBezTo>
                  <a:cubicBezTo>
                    <a:pt x="271" y="9"/>
                    <a:pt x="271" y="11"/>
                    <a:pt x="271" y="12"/>
                  </a:cubicBezTo>
                  <a:cubicBezTo>
                    <a:pt x="271" y="14"/>
                    <a:pt x="271" y="16"/>
                    <a:pt x="271" y="18"/>
                  </a:cubicBezTo>
                  <a:cubicBezTo>
                    <a:pt x="270" y="20"/>
                    <a:pt x="270" y="23"/>
                    <a:pt x="270" y="25"/>
                  </a:cubicBezTo>
                  <a:cubicBezTo>
                    <a:pt x="269" y="27"/>
                    <a:pt x="269" y="29"/>
                    <a:pt x="269" y="31"/>
                  </a:cubicBezTo>
                  <a:cubicBezTo>
                    <a:pt x="254" y="108"/>
                    <a:pt x="254" y="108"/>
                    <a:pt x="254" y="108"/>
                  </a:cubicBezTo>
                  <a:cubicBezTo>
                    <a:pt x="254" y="110"/>
                    <a:pt x="254" y="112"/>
                    <a:pt x="254" y="113"/>
                  </a:cubicBezTo>
                  <a:cubicBezTo>
                    <a:pt x="254" y="115"/>
                    <a:pt x="254" y="117"/>
                    <a:pt x="254" y="118"/>
                  </a:cubicBezTo>
                  <a:cubicBezTo>
                    <a:pt x="255" y="119"/>
                    <a:pt x="256" y="120"/>
                    <a:pt x="257" y="120"/>
                  </a:cubicBezTo>
                  <a:cubicBezTo>
                    <a:pt x="257" y="121"/>
                    <a:pt x="258" y="121"/>
                    <a:pt x="259" y="122"/>
                  </a:cubicBezTo>
                  <a:cubicBezTo>
                    <a:pt x="260" y="122"/>
                    <a:pt x="261" y="122"/>
                    <a:pt x="262" y="122"/>
                  </a:cubicBezTo>
                  <a:cubicBezTo>
                    <a:pt x="264" y="122"/>
                    <a:pt x="265" y="122"/>
                    <a:pt x="266" y="121"/>
                  </a:cubicBezTo>
                  <a:cubicBezTo>
                    <a:pt x="268" y="121"/>
                    <a:pt x="269" y="121"/>
                    <a:pt x="270" y="121"/>
                  </a:cubicBezTo>
                  <a:cubicBezTo>
                    <a:pt x="271" y="124"/>
                    <a:pt x="271" y="128"/>
                    <a:pt x="271" y="132"/>
                  </a:cubicBezTo>
                  <a:cubicBezTo>
                    <a:pt x="271" y="132"/>
                    <a:pt x="271" y="133"/>
                    <a:pt x="271" y="133"/>
                  </a:cubicBezTo>
                  <a:cubicBezTo>
                    <a:pt x="271" y="134"/>
                    <a:pt x="271" y="134"/>
                    <a:pt x="271" y="134"/>
                  </a:cubicBezTo>
                  <a:cubicBezTo>
                    <a:pt x="269" y="135"/>
                    <a:pt x="267" y="136"/>
                    <a:pt x="265" y="136"/>
                  </a:cubicBezTo>
                  <a:cubicBezTo>
                    <a:pt x="262" y="136"/>
                    <a:pt x="259" y="136"/>
                    <a:pt x="257" y="136"/>
                  </a:cubicBezTo>
                  <a:cubicBezTo>
                    <a:pt x="254" y="136"/>
                    <a:pt x="251" y="136"/>
                    <a:pt x="248" y="135"/>
                  </a:cubicBezTo>
                  <a:cubicBezTo>
                    <a:pt x="245" y="135"/>
                    <a:pt x="243" y="134"/>
                    <a:pt x="241" y="132"/>
                  </a:cubicBezTo>
                  <a:cubicBezTo>
                    <a:pt x="239" y="131"/>
                    <a:pt x="238" y="128"/>
                    <a:pt x="237" y="126"/>
                  </a:cubicBezTo>
                  <a:cubicBezTo>
                    <a:pt x="236" y="123"/>
                    <a:pt x="235" y="120"/>
                    <a:pt x="235" y="116"/>
                  </a:cubicBezTo>
                  <a:cubicBezTo>
                    <a:pt x="235" y="114"/>
                    <a:pt x="236" y="111"/>
                    <a:pt x="236" y="109"/>
                  </a:cubicBezTo>
                  <a:cubicBezTo>
                    <a:pt x="237" y="106"/>
                    <a:pt x="237" y="104"/>
                    <a:pt x="238" y="101"/>
                  </a:cubicBezTo>
                  <a:lnTo>
                    <a:pt x="249" y="39"/>
                  </a:lnTo>
                  <a:close/>
                  <a:moveTo>
                    <a:pt x="348" y="119"/>
                  </a:moveTo>
                  <a:cubicBezTo>
                    <a:pt x="349" y="120"/>
                    <a:pt x="349" y="122"/>
                    <a:pt x="350" y="125"/>
                  </a:cubicBezTo>
                  <a:cubicBezTo>
                    <a:pt x="351" y="127"/>
                    <a:pt x="351" y="130"/>
                    <a:pt x="351" y="133"/>
                  </a:cubicBezTo>
                  <a:cubicBezTo>
                    <a:pt x="347" y="134"/>
                    <a:pt x="343" y="135"/>
                    <a:pt x="339" y="136"/>
                  </a:cubicBezTo>
                  <a:cubicBezTo>
                    <a:pt x="334" y="137"/>
                    <a:pt x="330" y="137"/>
                    <a:pt x="326" y="137"/>
                  </a:cubicBezTo>
                  <a:cubicBezTo>
                    <a:pt x="312" y="137"/>
                    <a:pt x="303" y="134"/>
                    <a:pt x="296" y="127"/>
                  </a:cubicBezTo>
                  <a:cubicBezTo>
                    <a:pt x="290" y="121"/>
                    <a:pt x="287" y="112"/>
                    <a:pt x="287" y="100"/>
                  </a:cubicBezTo>
                  <a:cubicBezTo>
                    <a:pt x="287" y="92"/>
                    <a:pt x="288" y="85"/>
                    <a:pt x="290" y="78"/>
                  </a:cubicBezTo>
                  <a:cubicBezTo>
                    <a:pt x="293" y="71"/>
                    <a:pt x="296" y="64"/>
                    <a:pt x="301" y="58"/>
                  </a:cubicBezTo>
                  <a:cubicBezTo>
                    <a:pt x="306" y="52"/>
                    <a:pt x="311" y="48"/>
                    <a:pt x="318" y="44"/>
                  </a:cubicBezTo>
                  <a:cubicBezTo>
                    <a:pt x="325" y="41"/>
                    <a:pt x="333" y="39"/>
                    <a:pt x="341" y="39"/>
                  </a:cubicBezTo>
                  <a:cubicBezTo>
                    <a:pt x="345" y="39"/>
                    <a:pt x="349" y="39"/>
                    <a:pt x="353" y="40"/>
                  </a:cubicBezTo>
                  <a:cubicBezTo>
                    <a:pt x="357" y="41"/>
                    <a:pt x="360" y="42"/>
                    <a:pt x="363" y="43"/>
                  </a:cubicBezTo>
                  <a:cubicBezTo>
                    <a:pt x="362" y="45"/>
                    <a:pt x="362" y="47"/>
                    <a:pt x="361" y="50"/>
                  </a:cubicBezTo>
                  <a:cubicBezTo>
                    <a:pt x="360" y="53"/>
                    <a:pt x="359" y="55"/>
                    <a:pt x="358" y="57"/>
                  </a:cubicBezTo>
                  <a:cubicBezTo>
                    <a:pt x="355" y="56"/>
                    <a:pt x="353" y="56"/>
                    <a:pt x="350" y="55"/>
                  </a:cubicBezTo>
                  <a:cubicBezTo>
                    <a:pt x="347" y="54"/>
                    <a:pt x="344" y="54"/>
                    <a:pt x="341" y="54"/>
                  </a:cubicBezTo>
                  <a:cubicBezTo>
                    <a:pt x="335" y="54"/>
                    <a:pt x="330" y="55"/>
                    <a:pt x="325" y="58"/>
                  </a:cubicBezTo>
                  <a:cubicBezTo>
                    <a:pt x="321" y="60"/>
                    <a:pt x="317" y="64"/>
                    <a:pt x="314" y="68"/>
                  </a:cubicBezTo>
                  <a:cubicBezTo>
                    <a:pt x="311" y="72"/>
                    <a:pt x="309" y="77"/>
                    <a:pt x="308" y="82"/>
                  </a:cubicBezTo>
                  <a:cubicBezTo>
                    <a:pt x="306" y="88"/>
                    <a:pt x="306" y="93"/>
                    <a:pt x="306" y="98"/>
                  </a:cubicBezTo>
                  <a:cubicBezTo>
                    <a:pt x="306" y="106"/>
                    <a:pt x="308" y="112"/>
                    <a:pt x="312" y="116"/>
                  </a:cubicBezTo>
                  <a:cubicBezTo>
                    <a:pt x="316" y="120"/>
                    <a:pt x="321" y="122"/>
                    <a:pt x="329" y="122"/>
                  </a:cubicBezTo>
                  <a:cubicBezTo>
                    <a:pt x="332" y="122"/>
                    <a:pt x="335" y="122"/>
                    <a:pt x="338" y="121"/>
                  </a:cubicBezTo>
                  <a:cubicBezTo>
                    <a:pt x="341" y="121"/>
                    <a:pt x="344" y="120"/>
                    <a:pt x="348" y="119"/>
                  </a:cubicBezTo>
                  <a:close/>
                  <a:moveTo>
                    <a:pt x="402" y="137"/>
                  </a:moveTo>
                  <a:cubicBezTo>
                    <a:pt x="391" y="137"/>
                    <a:pt x="382" y="134"/>
                    <a:pt x="377" y="128"/>
                  </a:cubicBezTo>
                  <a:cubicBezTo>
                    <a:pt x="371" y="122"/>
                    <a:pt x="368" y="113"/>
                    <a:pt x="368" y="101"/>
                  </a:cubicBezTo>
                  <a:cubicBezTo>
                    <a:pt x="368" y="94"/>
                    <a:pt x="369" y="87"/>
                    <a:pt x="371" y="80"/>
                  </a:cubicBezTo>
                  <a:cubicBezTo>
                    <a:pt x="373" y="73"/>
                    <a:pt x="377" y="66"/>
                    <a:pt x="381" y="60"/>
                  </a:cubicBezTo>
                  <a:cubicBezTo>
                    <a:pt x="385" y="54"/>
                    <a:pt x="391" y="49"/>
                    <a:pt x="397" y="45"/>
                  </a:cubicBezTo>
                  <a:cubicBezTo>
                    <a:pt x="404" y="41"/>
                    <a:pt x="411" y="39"/>
                    <a:pt x="420" y="39"/>
                  </a:cubicBezTo>
                  <a:cubicBezTo>
                    <a:pt x="432" y="39"/>
                    <a:pt x="440" y="42"/>
                    <a:pt x="446" y="48"/>
                  </a:cubicBezTo>
                  <a:cubicBezTo>
                    <a:pt x="452" y="55"/>
                    <a:pt x="455" y="64"/>
                    <a:pt x="455" y="75"/>
                  </a:cubicBezTo>
                  <a:cubicBezTo>
                    <a:pt x="455" y="82"/>
                    <a:pt x="454" y="89"/>
                    <a:pt x="452" y="96"/>
                  </a:cubicBezTo>
                  <a:cubicBezTo>
                    <a:pt x="450" y="104"/>
                    <a:pt x="446" y="110"/>
                    <a:pt x="442" y="116"/>
                  </a:cubicBezTo>
                  <a:cubicBezTo>
                    <a:pt x="438" y="123"/>
                    <a:pt x="432" y="127"/>
                    <a:pt x="426" y="131"/>
                  </a:cubicBezTo>
                  <a:cubicBezTo>
                    <a:pt x="419" y="135"/>
                    <a:pt x="411" y="137"/>
                    <a:pt x="402" y="137"/>
                  </a:cubicBezTo>
                  <a:close/>
                  <a:moveTo>
                    <a:pt x="404" y="123"/>
                  </a:moveTo>
                  <a:cubicBezTo>
                    <a:pt x="410" y="123"/>
                    <a:pt x="415" y="121"/>
                    <a:pt x="419" y="118"/>
                  </a:cubicBezTo>
                  <a:cubicBezTo>
                    <a:pt x="423" y="115"/>
                    <a:pt x="426" y="111"/>
                    <a:pt x="429" y="106"/>
                  </a:cubicBezTo>
                  <a:cubicBezTo>
                    <a:pt x="431" y="102"/>
                    <a:pt x="433" y="96"/>
                    <a:pt x="435" y="91"/>
                  </a:cubicBezTo>
                  <a:cubicBezTo>
                    <a:pt x="436" y="85"/>
                    <a:pt x="436" y="80"/>
                    <a:pt x="436" y="75"/>
                  </a:cubicBezTo>
                  <a:cubicBezTo>
                    <a:pt x="436" y="68"/>
                    <a:pt x="435" y="63"/>
                    <a:pt x="432" y="59"/>
                  </a:cubicBezTo>
                  <a:cubicBezTo>
                    <a:pt x="429" y="56"/>
                    <a:pt x="424" y="54"/>
                    <a:pt x="418" y="54"/>
                  </a:cubicBezTo>
                  <a:cubicBezTo>
                    <a:pt x="413" y="54"/>
                    <a:pt x="408" y="55"/>
                    <a:pt x="404" y="58"/>
                  </a:cubicBezTo>
                  <a:cubicBezTo>
                    <a:pt x="400" y="62"/>
                    <a:pt x="397" y="66"/>
                    <a:pt x="394" y="70"/>
                  </a:cubicBezTo>
                  <a:cubicBezTo>
                    <a:pt x="391" y="75"/>
                    <a:pt x="390" y="80"/>
                    <a:pt x="388" y="86"/>
                  </a:cubicBezTo>
                  <a:cubicBezTo>
                    <a:pt x="387" y="91"/>
                    <a:pt x="387" y="97"/>
                    <a:pt x="387" y="101"/>
                  </a:cubicBezTo>
                  <a:cubicBezTo>
                    <a:pt x="387" y="108"/>
                    <a:pt x="388" y="114"/>
                    <a:pt x="391" y="117"/>
                  </a:cubicBezTo>
                  <a:cubicBezTo>
                    <a:pt x="394" y="121"/>
                    <a:pt x="398" y="123"/>
                    <a:pt x="404" y="123"/>
                  </a:cubicBezTo>
                  <a:close/>
                  <a:moveTo>
                    <a:pt x="476" y="81"/>
                  </a:moveTo>
                  <a:cubicBezTo>
                    <a:pt x="478" y="73"/>
                    <a:pt x="479" y="67"/>
                    <a:pt x="480" y="62"/>
                  </a:cubicBezTo>
                  <a:cubicBezTo>
                    <a:pt x="480" y="57"/>
                    <a:pt x="481" y="52"/>
                    <a:pt x="481" y="48"/>
                  </a:cubicBezTo>
                  <a:cubicBezTo>
                    <a:pt x="481" y="46"/>
                    <a:pt x="481" y="45"/>
                    <a:pt x="481" y="44"/>
                  </a:cubicBezTo>
                  <a:cubicBezTo>
                    <a:pt x="481" y="43"/>
                    <a:pt x="481" y="42"/>
                    <a:pt x="480" y="41"/>
                  </a:cubicBezTo>
                  <a:cubicBezTo>
                    <a:pt x="482" y="41"/>
                    <a:pt x="483" y="40"/>
                    <a:pt x="485" y="40"/>
                  </a:cubicBezTo>
                  <a:cubicBezTo>
                    <a:pt x="486" y="40"/>
                    <a:pt x="488" y="40"/>
                    <a:pt x="489" y="40"/>
                  </a:cubicBezTo>
                  <a:cubicBezTo>
                    <a:pt x="490" y="40"/>
                    <a:pt x="492" y="40"/>
                    <a:pt x="493" y="40"/>
                  </a:cubicBezTo>
                  <a:cubicBezTo>
                    <a:pt x="495" y="40"/>
                    <a:pt x="496" y="41"/>
                    <a:pt x="497" y="41"/>
                  </a:cubicBezTo>
                  <a:cubicBezTo>
                    <a:pt x="498" y="42"/>
                    <a:pt x="498" y="43"/>
                    <a:pt x="498" y="44"/>
                  </a:cubicBezTo>
                  <a:cubicBezTo>
                    <a:pt x="498" y="45"/>
                    <a:pt x="498" y="47"/>
                    <a:pt x="498" y="49"/>
                  </a:cubicBezTo>
                  <a:cubicBezTo>
                    <a:pt x="498" y="50"/>
                    <a:pt x="498" y="52"/>
                    <a:pt x="498" y="53"/>
                  </a:cubicBezTo>
                  <a:cubicBezTo>
                    <a:pt x="498" y="55"/>
                    <a:pt x="498" y="56"/>
                    <a:pt x="497" y="57"/>
                  </a:cubicBezTo>
                  <a:cubicBezTo>
                    <a:pt x="501" y="52"/>
                    <a:pt x="505" y="48"/>
                    <a:pt x="510" y="44"/>
                  </a:cubicBezTo>
                  <a:cubicBezTo>
                    <a:pt x="516" y="41"/>
                    <a:pt x="522" y="39"/>
                    <a:pt x="529" y="39"/>
                  </a:cubicBezTo>
                  <a:cubicBezTo>
                    <a:pt x="536" y="39"/>
                    <a:pt x="541" y="41"/>
                    <a:pt x="544" y="44"/>
                  </a:cubicBezTo>
                  <a:cubicBezTo>
                    <a:pt x="548" y="47"/>
                    <a:pt x="550" y="52"/>
                    <a:pt x="550" y="58"/>
                  </a:cubicBezTo>
                  <a:cubicBezTo>
                    <a:pt x="554" y="52"/>
                    <a:pt x="558" y="48"/>
                    <a:pt x="564" y="44"/>
                  </a:cubicBezTo>
                  <a:cubicBezTo>
                    <a:pt x="570" y="41"/>
                    <a:pt x="576" y="39"/>
                    <a:pt x="583" y="39"/>
                  </a:cubicBezTo>
                  <a:cubicBezTo>
                    <a:pt x="597" y="39"/>
                    <a:pt x="604" y="47"/>
                    <a:pt x="604" y="63"/>
                  </a:cubicBezTo>
                  <a:cubicBezTo>
                    <a:pt x="604" y="65"/>
                    <a:pt x="604" y="67"/>
                    <a:pt x="604" y="69"/>
                  </a:cubicBezTo>
                  <a:cubicBezTo>
                    <a:pt x="604" y="71"/>
                    <a:pt x="603" y="73"/>
                    <a:pt x="603" y="76"/>
                  </a:cubicBezTo>
                  <a:cubicBezTo>
                    <a:pt x="592" y="135"/>
                    <a:pt x="592" y="135"/>
                    <a:pt x="592" y="135"/>
                  </a:cubicBezTo>
                  <a:cubicBezTo>
                    <a:pt x="591" y="135"/>
                    <a:pt x="590" y="135"/>
                    <a:pt x="588" y="136"/>
                  </a:cubicBezTo>
                  <a:cubicBezTo>
                    <a:pt x="586" y="136"/>
                    <a:pt x="585" y="136"/>
                    <a:pt x="583" y="136"/>
                  </a:cubicBezTo>
                  <a:cubicBezTo>
                    <a:pt x="582" y="136"/>
                    <a:pt x="580" y="136"/>
                    <a:pt x="579" y="136"/>
                  </a:cubicBezTo>
                  <a:cubicBezTo>
                    <a:pt x="577" y="135"/>
                    <a:pt x="576" y="135"/>
                    <a:pt x="575" y="135"/>
                  </a:cubicBezTo>
                  <a:cubicBezTo>
                    <a:pt x="584" y="79"/>
                    <a:pt x="584" y="79"/>
                    <a:pt x="584" y="79"/>
                  </a:cubicBezTo>
                  <a:cubicBezTo>
                    <a:pt x="585" y="77"/>
                    <a:pt x="585" y="75"/>
                    <a:pt x="585" y="73"/>
                  </a:cubicBezTo>
                  <a:cubicBezTo>
                    <a:pt x="585" y="71"/>
                    <a:pt x="586" y="69"/>
                    <a:pt x="586" y="68"/>
                  </a:cubicBezTo>
                  <a:cubicBezTo>
                    <a:pt x="586" y="63"/>
                    <a:pt x="585" y="60"/>
                    <a:pt x="583" y="58"/>
                  </a:cubicBezTo>
                  <a:cubicBezTo>
                    <a:pt x="581" y="56"/>
                    <a:pt x="578" y="55"/>
                    <a:pt x="574" y="55"/>
                  </a:cubicBezTo>
                  <a:cubicBezTo>
                    <a:pt x="571" y="55"/>
                    <a:pt x="569" y="55"/>
                    <a:pt x="566" y="56"/>
                  </a:cubicBezTo>
                  <a:cubicBezTo>
                    <a:pt x="563" y="58"/>
                    <a:pt x="561" y="60"/>
                    <a:pt x="558" y="63"/>
                  </a:cubicBezTo>
                  <a:cubicBezTo>
                    <a:pt x="556" y="66"/>
                    <a:pt x="553" y="69"/>
                    <a:pt x="551" y="74"/>
                  </a:cubicBezTo>
                  <a:cubicBezTo>
                    <a:pt x="549" y="79"/>
                    <a:pt x="548" y="85"/>
                    <a:pt x="546" y="92"/>
                  </a:cubicBezTo>
                  <a:cubicBezTo>
                    <a:pt x="539" y="135"/>
                    <a:pt x="539" y="135"/>
                    <a:pt x="539" y="135"/>
                  </a:cubicBezTo>
                  <a:cubicBezTo>
                    <a:pt x="537" y="135"/>
                    <a:pt x="536" y="135"/>
                    <a:pt x="534" y="136"/>
                  </a:cubicBezTo>
                  <a:cubicBezTo>
                    <a:pt x="532" y="136"/>
                    <a:pt x="531" y="136"/>
                    <a:pt x="529" y="136"/>
                  </a:cubicBezTo>
                  <a:cubicBezTo>
                    <a:pt x="528" y="136"/>
                    <a:pt x="527" y="136"/>
                    <a:pt x="525" y="136"/>
                  </a:cubicBezTo>
                  <a:cubicBezTo>
                    <a:pt x="523" y="135"/>
                    <a:pt x="522" y="135"/>
                    <a:pt x="521" y="135"/>
                  </a:cubicBezTo>
                  <a:cubicBezTo>
                    <a:pt x="531" y="79"/>
                    <a:pt x="531" y="79"/>
                    <a:pt x="531" y="79"/>
                  </a:cubicBezTo>
                  <a:cubicBezTo>
                    <a:pt x="531" y="77"/>
                    <a:pt x="531" y="75"/>
                    <a:pt x="531" y="73"/>
                  </a:cubicBezTo>
                  <a:cubicBezTo>
                    <a:pt x="532" y="71"/>
                    <a:pt x="532" y="69"/>
                    <a:pt x="532" y="68"/>
                  </a:cubicBezTo>
                  <a:cubicBezTo>
                    <a:pt x="532" y="63"/>
                    <a:pt x="531" y="60"/>
                    <a:pt x="529" y="58"/>
                  </a:cubicBezTo>
                  <a:cubicBezTo>
                    <a:pt x="527" y="56"/>
                    <a:pt x="524" y="55"/>
                    <a:pt x="520" y="55"/>
                  </a:cubicBezTo>
                  <a:cubicBezTo>
                    <a:pt x="518" y="55"/>
                    <a:pt x="515" y="55"/>
                    <a:pt x="512" y="56"/>
                  </a:cubicBezTo>
                  <a:cubicBezTo>
                    <a:pt x="509" y="58"/>
                    <a:pt x="507" y="60"/>
                    <a:pt x="504" y="63"/>
                  </a:cubicBezTo>
                  <a:cubicBezTo>
                    <a:pt x="502" y="66"/>
                    <a:pt x="499" y="70"/>
                    <a:pt x="497" y="75"/>
                  </a:cubicBezTo>
                  <a:cubicBezTo>
                    <a:pt x="495" y="80"/>
                    <a:pt x="493" y="87"/>
                    <a:pt x="492" y="94"/>
                  </a:cubicBezTo>
                  <a:cubicBezTo>
                    <a:pt x="485" y="135"/>
                    <a:pt x="485" y="135"/>
                    <a:pt x="485" y="135"/>
                  </a:cubicBezTo>
                  <a:cubicBezTo>
                    <a:pt x="483" y="135"/>
                    <a:pt x="482" y="135"/>
                    <a:pt x="480" y="136"/>
                  </a:cubicBezTo>
                  <a:cubicBezTo>
                    <a:pt x="478" y="136"/>
                    <a:pt x="477" y="136"/>
                    <a:pt x="475" y="136"/>
                  </a:cubicBezTo>
                  <a:cubicBezTo>
                    <a:pt x="474" y="136"/>
                    <a:pt x="473" y="136"/>
                    <a:pt x="471" y="136"/>
                  </a:cubicBezTo>
                  <a:cubicBezTo>
                    <a:pt x="469" y="135"/>
                    <a:pt x="468" y="135"/>
                    <a:pt x="467" y="135"/>
                  </a:cubicBezTo>
                  <a:lnTo>
                    <a:pt x="476" y="81"/>
                  </a:lnTo>
                  <a:close/>
                  <a:moveTo>
                    <a:pt x="638" y="98"/>
                  </a:moveTo>
                  <a:cubicBezTo>
                    <a:pt x="639" y="106"/>
                    <a:pt x="641" y="112"/>
                    <a:pt x="644" y="116"/>
                  </a:cubicBezTo>
                  <a:cubicBezTo>
                    <a:pt x="648" y="120"/>
                    <a:pt x="654" y="122"/>
                    <a:pt x="662" y="122"/>
                  </a:cubicBezTo>
                  <a:cubicBezTo>
                    <a:pt x="667" y="122"/>
                    <a:pt x="672" y="122"/>
                    <a:pt x="676" y="121"/>
                  </a:cubicBezTo>
                  <a:cubicBezTo>
                    <a:pt x="680" y="120"/>
                    <a:pt x="684" y="118"/>
                    <a:pt x="688" y="117"/>
                  </a:cubicBezTo>
                  <a:cubicBezTo>
                    <a:pt x="689" y="119"/>
                    <a:pt x="690" y="121"/>
                    <a:pt x="690" y="124"/>
                  </a:cubicBezTo>
                  <a:cubicBezTo>
                    <a:pt x="691" y="126"/>
                    <a:pt x="691" y="129"/>
                    <a:pt x="691" y="131"/>
                  </a:cubicBezTo>
                  <a:cubicBezTo>
                    <a:pt x="689" y="132"/>
                    <a:pt x="687" y="133"/>
                    <a:pt x="684" y="134"/>
                  </a:cubicBezTo>
                  <a:cubicBezTo>
                    <a:pt x="682" y="134"/>
                    <a:pt x="679" y="135"/>
                    <a:pt x="676" y="135"/>
                  </a:cubicBezTo>
                  <a:cubicBezTo>
                    <a:pt x="673" y="136"/>
                    <a:pt x="670" y="136"/>
                    <a:pt x="667" y="137"/>
                  </a:cubicBezTo>
                  <a:cubicBezTo>
                    <a:pt x="664" y="137"/>
                    <a:pt x="662" y="137"/>
                    <a:pt x="659" y="137"/>
                  </a:cubicBezTo>
                  <a:cubicBezTo>
                    <a:pt x="652" y="137"/>
                    <a:pt x="646" y="136"/>
                    <a:pt x="641" y="134"/>
                  </a:cubicBezTo>
                  <a:cubicBezTo>
                    <a:pt x="636" y="132"/>
                    <a:pt x="632" y="130"/>
                    <a:pt x="629" y="127"/>
                  </a:cubicBezTo>
                  <a:cubicBezTo>
                    <a:pt x="626" y="123"/>
                    <a:pt x="624" y="119"/>
                    <a:pt x="622" y="115"/>
                  </a:cubicBezTo>
                  <a:cubicBezTo>
                    <a:pt x="621" y="110"/>
                    <a:pt x="620" y="105"/>
                    <a:pt x="620" y="100"/>
                  </a:cubicBezTo>
                  <a:cubicBezTo>
                    <a:pt x="620" y="92"/>
                    <a:pt x="621" y="85"/>
                    <a:pt x="624" y="78"/>
                  </a:cubicBezTo>
                  <a:cubicBezTo>
                    <a:pt x="626" y="70"/>
                    <a:pt x="630" y="64"/>
                    <a:pt x="635" y="58"/>
                  </a:cubicBezTo>
                  <a:cubicBezTo>
                    <a:pt x="639" y="52"/>
                    <a:pt x="645" y="48"/>
                    <a:pt x="652" y="44"/>
                  </a:cubicBezTo>
                  <a:cubicBezTo>
                    <a:pt x="658" y="41"/>
                    <a:pt x="665" y="39"/>
                    <a:pt x="673" y="39"/>
                  </a:cubicBezTo>
                  <a:cubicBezTo>
                    <a:pt x="681" y="39"/>
                    <a:pt x="688" y="41"/>
                    <a:pt x="693" y="45"/>
                  </a:cubicBezTo>
                  <a:cubicBezTo>
                    <a:pt x="697" y="49"/>
                    <a:pt x="700" y="54"/>
                    <a:pt x="700" y="61"/>
                  </a:cubicBezTo>
                  <a:cubicBezTo>
                    <a:pt x="700" y="66"/>
                    <a:pt x="698" y="71"/>
                    <a:pt x="696" y="75"/>
                  </a:cubicBezTo>
                  <a:cubicBezTo>
                    <a:pt x="693" y="79"/>
                    <a:pt x="689" y="82"/>
                    <a:pt x="685" y="85"/>
                  </a:cubicBezTo>
                  <a:cubicBezTo>
                    <a:pt x="680" y="88"/>
                    <a:pt x="675" y="90"/>
                    <a:pt x="668" y="92"/>
                  </a:cubicBezTo>
                  <a:cubicBezTo>
                    <a:pt x="662" y="94"/>
                    <a:pt x="655" y="95"/>
                    <a:pt x="648" y="96"/>
                  </a:cubicBezTo>
                  <a:lnTo>
                    <a:pt x="638" y="98"/>
                  </a:lnTo>
                  <a:close/>
                  <a:moveTo>
                    <a:pt x="650" y="82"/>
                  </a:moveTo>
                  <a:cubicBezTo>
                    <a:pt x="656" y="81"/>
                    <a:pt x="661" y="80"/>
                    <a:pt x="665" y="79"/>
                  </a:cubicBezTo>
                  <a:cubicBezTo>
                    <a:pt x="669" y="77"/>
                    <a:pt x="673" y="76"/>
                    <a:pt x="675" y="74"/>
                  </a:cubicBezTo>
                  <a:cubicBezTo>
                    <a:pt x="678" y="72"/>
                    <a:pt x="679" y="71"/>
                    <a:pt x="680" y="69"/>
                  </a:cubicBezTo>
                  <a:cubicBezTo>
                    <a:pt x="681" y="67"/>
                    <a:pt x="682" y="65"/>
                    <a:pt x="682" y="63"/>
                  </a:cubicBezTo>
                  <a:cubicBezTo>
                    <a:pt x="682" y="60"/>
                    <a:pt x="681" y="58"/>
                    <a:pt x="679" y="56"/>
                  </a:cubicBezTo>
                  <a:cubicBezTo>
                    <a:pt x="677" y="54"/>
                    <a:pt x="674" y="53"/>
                    <a:pt x="670" y="53"/>
                  </a:cubicBezTo>
                  <a:cubicBezTo>
                    <a:pt x="666" y="53"/>
                    <a:pt x="663" y="54"/>
                    <a:pt x="660" y="56"/>
                  </a:cubicBezTo>
                  <a:cubicBezTo>
                    <a:pt x="656" y="58"/>
                    <a:pt x="653" y="60"/>
                    <a:pt x="651" y="63"/>
                  </a:cubicBezTo>
                  <a:cubicBezTo>
                    <a:pt x="648" y="66"/>
                    <a:pt x="646" y="69"/>
                    <a:pt x="644" y="73"/>
                  </a:cubicBezTo>
                  <a:cubicBezTo>
                    <a:pt x="642" y="76"/>
                    <a:pt x="641" y="80"/>
                    <a:pt x="640" y="84"/>
                  </a:cubicBezTo>
                  <a:lnTo>
                    <a:pt x="650" y="82"/>
                  </a:lnTo>
                  <a:close/>
                  <a:moveTo>
                    <a:pt x="770" y="56"/>
                  </a:moveTo>
                  <a:cubicBezTo>
                    <a:pt x="755" y="56"/>
                    <a:pt x="755" y="56"/>
                    <a:pt x="755" y="56"/>
                  </a:cubicBezTo>
                  <a:cubicBezTo>
                    <a:pt x="755" y="53"/>
                    <a:pt x="755" y="51"/>
                    <a:pt x="755" y="49"/>
                  </a:cubicBezTo>
                  <a:cubicBezTo>
                    <a:pt x="756" y="46"/>
                    <a:pt x="756" y="44"/>
                    <a:pt x="757" y="41"/>
                  </a:cubicBezTo>
                  <a:cubicBezTo>
                    <a:pt x="772" y="41"/>
                    <a:pt x="772" y="41"/>
                    <a:pt x="772" y="41"/>
                  </a:cubicBezTo>
                  <a:cubicBezTo>
                    <a:pt x="773" y="38"/>
                    <a:pt x="773" y="35"/>
                    <a:pt x="774" y="31"/>
                  </a:cubicBezTo>
                  <a:cubicBezTo>
                    <a:pt x="774" y="28"/>
                    <a:pt x="774" y="25"/>
                    <a:pt x="774" y="21"/>
                  </a:cubicBezTo>
                  <a:cubicBezTo>
                    <a:pt x="774" y="18"/>
                    <a:pt x="774" y="18"/>
                    <a:pt x="774" y="18"/>
                  </a:cubicBezTo>
                  <a:cubicBezTo>
                    <a:pt x="777" y="17"/>
                    <a:pt x="780" y="16"/>
                    <a:pt x="783" y="15"/>
                  </a:cubicBezTo>
                  <a:cubicBezTo>
                    <a:pt x="787" y="15"/>
                    <a:pt x="789" y="15"/>
                    <a:pt x="792" y="15"/>
                  </a:cubicBezTo>
                  <a:cubicBezTo>
                    <a:pt x="792" y="16"/>
                    <a:pt x="792" y="17"/>
                    <a:pt x="792" y="18"/>
                  </a:cubicBezTo>
                  <a:cubicBezTo>
                    <a:pt x="792" y="19"/>
                    <a:pt x="792" y="20"/>
                    <a:pt x="792" y="21"/>
                  </a:cubicBezTo>
                  <a:cubicBezTo>
                    <a:pt x="792" y="25"/>
                    <a:pt x="792" y="30"/>
                    <a:pt x="791" y="35"/>
                  </a:cubicBezTo>
                  <a:cubicBezTo>
                    <a:pt x="790" y="41"/>
                    <a:pt x="790" y="41"/>
                    <a:pt x="790" y="41"/>
                  </a:cubicBezTo>
                  <a:cubicBezTo>
                    <a:pt x="813" y="41"/>
                    <a:pt x="813" y="41"/>
                    <a:pt x="813" y="41"/>
                  </a:cubicBezTo>
                  <a:cubicBezTo>
                    <a:pt x="813" y="44"/>
                    <a:pt x="813" y="46"/>
                    <a:pt x="813" y="49"/>
                  </a:cubicBezTo>
                  <a:cubicBezTo>
                    <a:pt x="812" y="51"/>
                    <a:pt x="812" y="53"/>
                    <a:pt x="811" y="56"/>
                  </a:cubicBezTo>
                  <a:cubicBezTo>
                    <a:pt x="787" y="56"/>
                    <a:pt x="787" y="56"/>
                    <a:pt x="787" y="56"/>
                  </a:cubicBezTo>
                  <a:cubicBezTo>
                    <a:pt x="780" y="95"/>
                    <a:pt x="780" y="95"/>
                    <a:pt x="780" y="95"/>
                  </a:cubicBezTo>
                  <a:cubicBezTo>
                    <a:pt x="780" y="98"/>
                    <a:pt x="779" y="101"/>
                    <a:pt x="779" y="104"/>
                  </a:cubicBezTo>
                  <a:cubicBezTo>
                    <a:pt x="778" y="107"/>
                    <a:pt x="778" y="110"/>
                    <a:pt x="778" y="112"/>
                  </a:cubicBezTo>
                  <a:cubicBezTo>
                    <a:pt x="778" y="116"/>
                    <a:pt x="779" y="118"/>
                    <a:pt x="781" y="120"/>
                  </a:cubicBezTo>
                  <a:cubicBezTo>
                    <a:pt x="783" y="121"/>
                    <a:pt x="785" y="122"/>
                    <a:pt x="788" y="122"/>
                  </a:cubicBezTo>
                  <a:cubicBezTo>
                    <a:pt x="790" y="122"/>
                    <a:pt x="792" y="122"/>
                    <a:pt x="794" y="121"/>
                  </a:cubicBezTo>
                  <a:cubicBezTo>
                    <a:pt x="796" y="121"/>
                    <a:pt x="797" y="121"/>
                    <a:pt x="799" y="120"/>
                  </a:cubicBezTo>
                  <a:cubicBezTo>
                    <a:pt x="800" y="121"/>
                    <a:pt x="800" y="123"/>
                    <a:pt x="800" y="124"/>
                  </a:cubicBezTo>
                  <a:cubicBezTo>
                    <a:pt x="800" y="126"/>
                    <a:pt x="800" y="127"/>
                    <a:pt x="800" y="129"/>
                  </a:cubicBezTo>
                  <a:cubicBezTo>
                    <a:pt x="800" y="130"/>
                    <a:pt x="800" y="131"/>
                    <a:pt x="800" y="132"/>
                  </a:cubicBezTo>
                  <a:cubicBezTo>
                    <a:pt x="800" y="133"/>
                    <a:pt x="800" y="134"/>
                    <a:pt x="800" y="134"/>
                  </a:cubicBezTo>
                  <a:cubicBezTo>
                    <a:pt x="799" y="135"/>
                    <a:pt x="797" y="135"/>
                    <a:pt x="794" y="136"/>
                  </a:cubicBezTo>
                  <a:cubicBezTo>
                    <a:pt x="792" y="136"/>
                    <a:pt x="789" y="137"/>
                    <a:pt x="786" y="137"/>
                  </a:cubicBezTo>
                  <a:cubicBezTo>
                    <a:pt x="782" y="137"/>
                    <a:pt x="778" y="136"/>
                    <a:pt x="775" y="136"/>
                  </a:cubicBezTo>
                  <a:cubicBezTo>
                    <a:pt x="772" y="135"/>
                    <a:pt x="769" y="134"/>
                    <a:pt x="767" y="133"/>
                  </a:cubicBezTo>
                  <a:cubicBezTo>
                    <a:pt x="764" y="131"/>
                    <a:pt x="763" y="129"/>
                    <a:pt x="761" y="126"/>
                  </a:cubicBezTo>
                  <a:cubicBezTo>
                    <a:pt x="760" y="124"/>
                    <a:pt x="759" y="120"/>
                    <a:pt x="759" y="116"/>
                  </a:cubicBezTo>
                  <a:cubicBezTo>
                    <a:pt x="759" y="114"/>
                    <a:pt x="760" y="111"/>
                    <a:pt x="760" y="109"/>
                  </a:cubicBezTo>
                  <a:cubicBezTo>
                    <a:pt x="761" y="106"/>
                    <a:pt x="761" y="103"/>
                    <a:pt x="761" y="100"/>
                  </a:cubicBezTo>
                  <a:lnTo>
                    <a:pt x="770" y="56"/>
                  </a:lnTo>
                  <a:close/>
                  <a:moveTo>
                    <a:pt x="851" y="137"/>
                  </a:moveTo>
                  <a:cubicBezTo>
                    <a:pt x="840" y="137"/>
                    <a:pt x="831" y="134"/>
                    <a:pt x="826" y="128"/>
                  </a:cubicBezTo>
                  <a:cubicBezTo>
                    <a:pt x="820" y="122"/>
                    <a:pt x="817" y="113"/>
                    <a:pt x="817" y="101"/>
                  </a:cubicBezTo>
                  <a:cubicBezTo>
                    <a:pt x="817" y="94"/>
                    <a:pt x="818" y="87"/>
                    <a:pt x="820" y="80"/>
                  </a:cubicBezTo>
                  <a:cubicBezTo>
                    <a:pt x="822" y="73"/>
                    <a:pt x="825" y="66"/>
                    <a:pt x="830" y="60"/>
                  </a:cubicBezTo>
                  <a:cubicBezTo>
                    <a:pt x="834" y="54"/>
                    <a:pt x="839" y="49"/>
                    <a:pt x="846" y="45"/>
                  </a:cubicBezTo>
                  <a:cubicBezTo>
                    <a:pt x="853" y="41"/>
                    <a:pt x="860" y="39"/>
                    <a:pt x="869" y="39"/>
                  </a:cubicBezTo>
                  <a:cubicBezTo>
                    <a:pt x="881" y="39"/>
                    <a:pt x="889" y="42"/>
                    <a:pt x="895" y="48"/>
                  </a:cubicBezTo>
                  <a:cubicBezTo>
                    <a:pt x="901" y="55"/>
                    <a:pt x="904" y="64"/>
                    <a:pt x="904" y="75"/>
                  </a:cubicBezTo>
                  <a:cubicBezTo>
                    <a:pt x="904" y="82"/>
                    <a:pt x="903" y="89"/>
                    <a:pt x="901" y="96"/>
                  </a:cubicBezTo>
                  <a:cubicBezTo>
                    <a:pt x="898" y="104"/>
                    <a:pt x="895" y="110"/>
                    <a:pt x="891" y="116"/>
                  </a:cubicBezTo>
                  <a:cubicBezTo>
                    <a:pt x="887" y="123"/>
                    <a:pt x="881" y="127"/>
                    <a:pt x="875" y="131"/>
                  </a:cubicBezTo>
                  <a:cubicBezTo>
                    <a:pt x="868" y="135"/>
                    <a:pt x="860" y="137"/>
                    <a:pt x="851" y="137"/>
                  </a:cubicBezTo>
                  <a:close/>
                  <a:moveTo>
                    <a:pt x="853" y="123"/>
                  </a:moveTo>
                  <a:cubicBezTo>
                    <a:pt x="859" y="123"/>
                    <a:pt x="864" y="121"/>
                    <a:pt x="868" y="118"/>
                  </a:cubicBezTo>
                  <a:cubicBezTo>
                    <a:pt x="872" y="115"/>
                    <a:pt x="875" y="111"/>
                    <a:pt x="878" y="106"/>
                  </a:cubicBezTo>
                  <a:cubicBezTo>
                    <a:pt x="880" y="102"/>
                    <a:pt x="882" y="96"/>
                    <a:pt x="883" y="91"/>
                  </a:cubicBezTo>
                  <a:cubicBezTo>
                    <a:pt x="885" y="85"/>
                    <a:pt x="885" y="80"/>
                    <a:pt x="885" y="75"/>
                  </a:cubicBezTo>
                  <a:cubicBezTo>
                    <a:pt x="885" y="68"/>
                    <a:pt x="884" y="63"/>
                    <a:pt x="881" y="59"/>
                  </a:cubicBezTo>
                  <a:cubicBezTo>
                    <a:pt x="878" y="56"/>
                    <a:pt x="873" y="54"/>
                    <a:pt x="867" y="54"/>
                  </a:cubicBezTo>
                  <a:cubicBezTo>
                    <a:pt x="862" y="54"/>
                    <a:pt x="857" y="55"/>
                    <a:pt x="853" y="58"/>
                  </a:cubicBezTo>
                  <a:cubicBezTo>
                    <a:pt x="849" y="62"/>
                    <a:pt x="845" y="66"/>
                    <a:pt x="843" y="70"/>
                  </a:cubicBezTo>
                  <a:cubicBezTo>
                    <a:pt x="840" y="75"/>
                    <a:pt x="838" y="80"/>
                    <a:pt x="837" y="86"/>
                  </a:cubicBezTo>
                  <a:cubicBezTo>
                    <a:pt x="836" y="91"/>
                    <a:pt x="836" y="97"/>
                    <a:pt x="836" y="101"/>
                  </a:cubicBezTo>
                  <a:cubicBezTo>
                    <a:pt x="836" y="108"/>
                    <a:pt x="837" y="114"/>
                    <a:pt x="840" y="117"/>
                  </a:cubicBezTo>
                  <a:cubicBezTo>
                    <a:pt x="843" y="121"/>
                    <a:pt x="847" y="123"/>
                    <a:pt x="853" y="123"/>
                  </a:cubicBezTo>
                  <a:close/>
                  <a:moveTo>
                    <a:pt x="955" y="81"/>
                  </a:moveTo>
                  <a:cubicBezTo>
                    <a:pt x="956" y="73"/>
                    <a:pt x="958" y="67"/>
                    <a:pt x="958" y="62"/>
                  </a:cubicBezTo>
                  <a:cubicBezTo>
                    <a:pt x="959" y="57"/>
                    <a:pt x="960" y="52"/>
                    <a:pt x="960" y="48"/>
                  </a:cubicBezTo>
                  <a:cubicBezTo>
                    <a:pt x="960" y="46"/>
                    <a:pt x="960" y="45"/>
                    <a:pt x="959" y="44"/>
                  </a:cubicBezTo>
                  <a:cubicBezTo>
                    <a:pt x="959" y="43"/>
                    <a:pt x="959" y="42"/>
                    <a:pt x="959" y="41"/>
                  </a:cubicBezTo>
                  <a:cubicBezTo>
                    <a:pt x="961" y="41"/>
                    <a:pt x="962" y="40"/>
                    <a:pt x="963" y="40"/>
                  </a:cubicBezTo>
                  <a:cubicBezTo>
                    <a:pt x="965" y="40"/>
                    <a:pt x="966" y="40"/>
                    <a:pt x="968" y="40"/>
                  </a:cubicBezTo>
                  <a:cubicBezTo>
                    <a:pt x="969" y="40"/>
                    <a:pt x="970" y="40"/>
                    <a:pt x="972" y="40"/>
                  </a:cubicBezTo>
                  <a:cubicBezTo>
                    <a:pt x="973" y="40"/>
                    <a:pt x="975" y="41"/>
                    <a:pt x="976" y="41"/>
                  </a:cubicBezTo>
                  <a:cubicBezTo>
                    <a:pt x="976" y="42"/>
                    <a:pt x="977" y="43"/>
                    <a:pt x="977" y="44"/>
                  </a:cubicBezTo>
                  <a:cubicBezTo>
                    <a:pt x="977" y="45"/>
                    <a:pt x="977" y="47"/>
                    <a:pt x="977" y="49"/>
                  </a:cubicBezTo>
                  <a:cubicBezTo>
                    <a:pt x="977" y="50"/>
                    <a:pt x="977" y="52"/>
                    <a:pt x="977" y="53"/>
                  </a:cubicBezTo>
                  <a:cubicBezTo>
                    <a:pt x="977" y="54"/>
                    <a:pt x="976" y="55"/>
                    <a:pt x="976" y="57"/>
                  </a:cubicBezTo>
                  <a:cubicBezTo>
                    <a:pt x="979" y="52"/>
                    <a:pt x="984" y="47"/>
                    <a:pt x="989" y="44"/>
                  </a:cubicBezTo>
                  <a:cubicBezTo>
                    <a:pt x="994" y="41"/>
                    <a:pt x="1001" y="39"/>
                    <a:pt x="1008" y="39"/>
                  </a:cubicBezTo>
                  <a:cubicBezTo>
                    <a:pt x="1017" y="39"/>
                    <a:pt x="1023" y="42"/>
                    <a:pt x="1028" y="48"/>
                  </a:cubicBezTo>
                  <a:cubicBezTo>
                    <a:pt x="1033" y="54"/>
                    <a:pt x="1035" y="62"/>
                    <a:pt x="1035" y="73"/>
                  </a:cubicBezTo>
                  <a:cubicBezTo>
                    <a:pt x="1035" y="81"/>
                    <a:pt x="1034" y="90"/>
                    <a:pt x="1031" y="97"/>
                  </a:cubicBezTo>
                  <a:cubicBezTo>
                    <a:pt x="1029" y="105"/>
                    <a:pt x="1025" y="112"/>
                    <a:pt x="1020" y="118"/>
                  </a:cubicBezTo>
                  <a:cubicBezTo>
                    <a:pt x="1014" y="124"/>
                    <a:pt x="1008" y="129"/>
                    <a:pt x="1000" y="132"/>
                  </a:cubicBezTo>
                  <a:cubicBezTo>
                    <a:pt x="992" y="135"/>
                    <a:pt x="983" y="137"/>
                    <a:pt x="973" y="137"/>
                  </a:cubicBezTo>
                  <a:cubicBezTo>
                    <a:pt x="971" y="137"/>
                    <a:pt x="969" y="137"/>
                    <a:pt x="968" y="137"/>
                  </a:cubicBezTo>
                  <a:cubicBezTo>
                    <a:pt x="966" y="137"/>
                    <a:pt x="965" y="137"/>
                    <a:pt x="963" y="137"/>
                  </a:cubicBezTo>
                  <a:cubicBezTo>
                    <a:pt x="956" y="178"/>
                    <a:pt x="956" y="178"/>
                    <a:pt x="956" y="178"/>
                  </a:cubicBezTo>
                  <a:cubicBezTo>
                    <a:pt x="955" y="179"/>
                    <a:pt x="953" y="179"/>
                    <a:pt x="951" y="179"/>
                  </a:cubicBezTo>
                  <a:cubicBezTo>
                    <a:pt x="950" y="179"/>
                    <a:pt x="948" y="179"/>
                    <a:pt x="947" y="179"/>
                  </a:cubicBezTo>
                  <a:cubicBezTo>
                    <a:pt x="946" y="179"/>
                    <a:pt x="944" y="179"/>
                    <a:pt x="942" y="179"/>
                  </a:cubicBezTo>
                  <a:cubicBezTo>
                    <a:pt x="941" y="179"/>
                    <a:pt x="939" y="179"/>
                    <a:pt x="938" y="178"/>
                  </a:cubicBezTo>
                  <a:lnTo>
                    <a:pt x="955" y="81"/>
                  </a:lnTo>
                  <a:close/>
                  <a:moveTo>
                    <a:pt x="966" y="121"/>
                  </a:moveTo>
                  <a:cubicBezTo>
                    <a:pt x="967" y="121"/>
                    <a:pt x="969" y="122"/>
                    <a:pt x="971" y="122"/>
                  </a:cubicBezTo>
                  <a:cubicBezTo>
                    <a:pt x="973" y="122"/>
                    <a:pt x="975" y="122"/>
                    <a:pt x="977" y="122"/>
                  </a:cubicBezTo>
                  <a:cubicBezTo>
                    <a:pt x="982" y="122"/>
                    <a:pt x="987" y="121"/>
                    <a:pt x="992" y="119"/>
                  </a:cubicBezTo>
                  <a:cubicBezTo>
                    <a:pt x="997" y="116"/>
                    <a:pt x="1001" y="113"/>
                    <a:pt x="1005" y="109"/>
                  </a:cubicBezTo>
                  <a:cubicBezTo>
                    <a:pt x="1008" y="105"/>
                    <a:pt x="1011" y="100"/>
                    <a:pt x="1013" y="94"/>
                  </a:cubicBezTo>
                  <a:cubicBezTo>
                    <a:pt x="1015" y="89"/>
                    <a:pt x="1016" y="83"/>
                    <a:pt x="1016" y="76"/>
                  </a:cubicBezTo>
                  <a:cubicBezTo>
                    <a:pt x="1016" y="69"/>
                    <a:pt x="1015" y="64"/>
                    <a:pt x="1012" y="60"/>
                  </a:cubicBezTo>
                  <a:cubicBezTo>
                    <a:pt x="1009" y="57"/>
                    <a:pt x="1005" y="55"/>
                    <a:pt x="1000" y="55"/>
                  </a:cubicBezTo>
                  <a:cubicBezTo>
                    <a:pt x="996" y="55"/>
                    <a:pt x="993" y="55"/>
                    <a:pt x="990" y="57"/>
                  </a:cubicBezTo>
                  <a:cubicBezTo>
                    <a:pt x="988" y="58"/>
                    <a:pt x="985" y="60"/>
                    <a:pt x="982" y="63"/>
                  </a:cubicBezTo>
                  <a:cubicBezTo>
                    <a:pt x="980" y="66"/>
                    <a:pt x="978" y="70"/>
                    <a:pt x="976" y="75"/>
                  </a:cubicBezTo>
                  <a:cubicBezTo>
                    <a:pt x="974" y="79"/>
                    <a:pt x="972" y="85"/>
                    <a:pt x="971" y="92"/>
                  </a:cubicBezTo>
                  <a:lnTo>
                    <a:pt x="966" y="121"/>
                  </a:lnTo>
                  <a:close/>
                  <a:moveTo>
                    <a:pt x="1084" y="137"/>
                  </a:moveTo>
                  <a:cubicBezTo>
                    <a:pt x="1072" y="137"/>
                    <a:pt x="1064" y="134"/>
                    <a:pt x="1058" y="128"/>
                  </a:cubicBezTo>
                  <a:cubicBezTo>
                    <a:pt x="1052" y="122"/>
                    <a:pt x="1049" y="113"/>
                    <a:pt x="1049" y="101"/>
                  </a:cubicBezTo>
                  <a:cubicBezTo>
                    <a:pt x="1049" y="94"/>
                    <a:pt x="1051" y="87"/>
                    <a:pt x="1053" y="80"/>
                  </a:cubicBezTo>
                  <a:cubicBezTo>
                    <a:pt x="1055" y="73"/>
                    <a:pt x="1058" y="66"/>
                    <a:pt x="1062" y="60"/>
                  </a:cubicBezTo>
                  <a:cubicBezTo>
                    <a:pt x="1067" y="54"/>
                    <a:pt x="1072" y="49"/>
                    <a:pt x="1079" y="45"/>
                  </a:cubicBezTo>
                  <a:cubicBezTo>
                    <a:pt x="1085" y="41"/>
                    <a:pt x="1093" y="39"/>
                    <a:pt x="1102" y="39"/>
                  </a:cubicBezTo>
                  <a:cubicBezTo>
                    <a:pt x="1113" y="39"/>
                    <a:pt x="1122" y="42"/>
                    <a:pt x="1127" y="48"/>
                  </a:cubicBezTo>
                  <a:cubicBezTo>
                    <a:pt x="1133" y="55"/>
                    <a:pt x="1136" y="64"/>
                    <a:pt x="1136" y="75"/>
                  </a:cubicBezTo>
                  <a:cubicBezTo>
                    <a:pt x="1136" y="82"/>
                    <a:pt x="1135" y="89"/>
                    <a:pt x="1133" y="96"/>
                  </a:cubicBezTo>
                  <a:cubicBezTo>
                    <a:pt x="1131" y="104"/>
                    <a:pt x="1128" y="110"/>
                    <a:pt x="1123" y="116"/>
                  </a:cubicBezTo>
                  <a:cubicBezTo>
                    <a:pt x="1119" y="123"/>
                    <a:pt x="1114" y="127"/>
                    <a:pt x="1107" y="131"/>
                  </a:cubicBezTo>
                  <a:cubicBezTo>
                    <a:pt x="1101" y="135"/>
                    <a:pt x="1093" y="137"/>
                    <a:pt x="1084" y="137"/>
                  </a:cubicBezTo>
                  <a:close/>
                  <a:moveTo>
                    <a:pt x="1086" y="123"/>
                  </a:moveTo>
                  <a:cubicBezTo>
                    <a:pt x="1091" y="123"/>
                    <a:pt x="1096" y="121"/>
                    <a:pt x="1100" y="118"/>
                  </a:cubicBezTo>
                  <a:cubicBezTo>
                    <a:pt x="1104" y="115"/>
                    <a:pt x="1108" y="111"/>
                    <a:pt x="1110" y="106"/>
                  </a:cubicBezTo>
                  <a:cubicBezTo>
                    <a:pt x="1113" y="102"/>
                    <a:pt x="1115" y="96"/>
                    <a:pt x="1116" y="91"/>
                  </a:cubicBezTo>
                  <a:cubicBezTo>
                    <a:pt x="1117" y="85"/>
                    <a:pt x="1118" y="80"/>
                    <a:pt x="1118" y="75"/>
                  </a:cubicBezTo>
                  <a:cubicBezTo>
                    <a:pt x="1118" y="68"/>
                    <a:pt x="1116" y="63"/>
                    <a:pt x="1113" y="59"/>
                  </a:cubicBezTo>
                  <a:cubicBezTo>
                    <a:pt x="1110" y="56"/>
                    <a:pt x="1106" y="54"/>
                    <a:pt x="1100" y="54"/>
                  </a:cubicBezTo>
                  <a:cubicBezTo>
                    <a:pt x="1094" y="54"/>
                    <a:pt x="1089" y="55"/>
                    <a:pt x="1085" y="58"/>
                  </a:cubicBezTo>
                  <a:cubicBezTo>
                    <a:pt x="1081" y="62"/>
                    <a:pt x="1078" y="66"/>
                    <a:pt x="1075" y="70"/>
                  </a:cubicBezTo>
                  <a:cubicBezTo>
                    <a:pt x="1073" y="75"/>
                    <a:pt x="1071" y="80"/>
                    <a:pt x="1070" y="86"/>
                  </a:cubicBezTo>
                  <a:cubicBezTo>
                    <a:pt x="1069" y="91"/>
                    <a:pt x="1068" y="97"/>
                    <a:pt x="1068" y="101"/>
                  </a:cubicBezTo>
                  <a:cubicBezTo>
                    <a:pt x="1068" y="108"/>
                    <a:pt x="1069" y="114"/>
                    <a:pt x="1072" y="117"/>
                  </a:cubicBezTo>
                  <a:cubicBezTo>
                    <a:pt x="1075" y="121"/>
                    <a:pt x="1080" y="123"/>
                    <a:pt x="1086" y="123"/>
                  </a:cubicBezTo>
                  <a:close/>
                  <a:moveTo>
                    <a:pt x="1174" y="91"/>
                  </a:moveTo>
                  <a:cubicBezTo>
                    <a:pt x="1172" y="90"/>
                    <a:pt x="1170" y="89"/>
                    <a:pt x="1168" y="88"/>
                  </a:cubicBezTo>
                  <a:cubicBezTo>
                    <a:pt x="1166" y="87"/>
                    <a:pt x="1164" y="86"/>
                    <a:pt x="1162" y="84"/>
                  </a:cubicBezTo>
                  <a:cubicBezTo>
                    <a:pt x="1160" y="82"/>
                    <a:pt x="1159" y="80"/>
                    <a:pt x="1158" y="77"/>
                  </a:cubicBezTo>
                  <a:cubicBezTo>
                    <a:pt x="1157" y="75"/>
                    <a:pt x="1156" y="72"/>
                    <a:pt x="1156" y="68"/>
                  </a:cubicBezTo>
                  <a:cubicBezTo>
                    <a:pt x="1156" y="63"/>
                    <a:pt x="1157" y="59"/>
                    <a:pt x="1159" y="56"/>
                  </a:cubicBezTo>
                  <a:cubicBezTo>
                    <a:pt x="1161" y="52"/>
                    <a:pt x="1163" y="49"/>
                    <a:pt x="1167" y="47"/>
                  </a:cubicBezTo>
                  <a:cubicBezTo>
                    <a:pt x="1170" y="44"/>
                    <a:pt x="1174" y="42"/>
                    <a:pt x="1178" y="41"/>
                  </a:cubicBezTo>
                  <a:cubicBezTo>
                    <a:pt x="1183" y="40"/>
                    <a:pt x="1188" y="39"/>
                    <a:pt x="1194" y="39"/>
                  </a:cubicBezTo>
                  <a:cubicBezTo>
                    <a:pt x="1199" y="39"/>
                    <a:pt x="1203" y="39"/>
                    <a:pt x="1208" y="41"/>
                  </a:cubicBezTo>
                  <a:cubicBezTo>
                    <a:pt x="1212" y="42"/>
                    <a:pt x="1216" y="43"/>
                    <a:pt x="1219" y="44"/>
                  </a:cubicBezTo>
                  <a:cubicBezTo>
                    <a:pt x="1218" y="49"/>
                    <a:pt x="1216" y="54"/>
                    <a:pt x="1213" y="58"/>
                  </a:cubicBezTo>
                  <a:cubicBezTo>
                    <a:pt x="1211" y="57"/>
                    <a:pt x="1208" y="56"/>
                    <a:pt x="1205" y="55"/>
                  </a:cubicBezTo>
                  <a:cubicBezTo>
                    <a:pt x="1201" y="54"/>
                    <a:pt x="1197" y="53"/>
                    <a:pt x="1193" y="53"/>
                  </a:cubicBezTo>
                  <a:cubicBezTo>
                    <a:pt x="1188" y="53"/>
                    <a:pt x="1183" y="54"/>
                    <a:pt x="1180" y="56"/>
                  </a:cubicBezTo>
                  <a:cubicBezTo>
                    <a:pt x="1176" y="58"/>
                    <a:pt x="1175" y="61"/>
                    <a:pt x="1175" y="66"/>
                  </a:cubicBezTo>
                  <a:cubicBezTo>
                    <a:pt x="1175" y="68"/>
                    <a:pt x="1175" y="71"/>
                    <a:pt x="1177" y="73"/>
                  </a:cubicBezTo>
                  <a:cubicBezTo>
                    <a:pt x="1179" y="75"/>
                    <a:pt x="1182" y="76"/>
                    <a:pt x="1186" y="78"/>
                  </a:cubicBezTo>
                  <a:cubicBezTo>
                    <a:pt x="1190" y="80"/>
                    <a:pt x="1190" y="80"/>
                    <a:pt x="1190" y="80"/>
                  </a:cubicBezTo>
                  <a:cubicBezTo>
                    <a:pt x="1192" y="81"/>
                    <a:pt x="1195" y="82"/>
                    <a:pt x="1197" y="83"/>
                  </a:cubicBezTo>
                  <a:cubicBezTo>
                    <a:pt x="1200" y="85"/>
                    <a:pt x="1202" y="86"/>
                    <a:pt x="1204" y="88"/>
                  </a:cubicBezTo>
                  <a:cubicBezTo>
                    <a:pt x="1206" y="90"/>
                    <a:pt x="1208" y="92"/>
                    <a:pt x="1209" y="94"/>
                  </a:cubicBezTo>
                  <a:cubicBezTo>
                    <a:pt x="1210" y="97"/>
                    <a:pt x="1211" y="100"/>
                    <a:pt x="1211" y="104"/>
                  </a:cubicBezTo>
                  <a:cubicBezTo>
                    <a:pt x="1211" y="109"/>
                    <a:pt x="1210" y="114"/>
                    <a:pt x="1208" y="119"/>
                  </a:cubicBezTo>
                  <a:cubicBezTo>
                    <a:pt x="1205" y="123"/>
                    <a:pt x="1202" y="126"/>
                    <a:pt x="1198" y="129"/>
                  </a:cubicBezTo>
                  <a:cubicBezTo>
                    <a:pt x="1195" y="132"/>
                    <a:pt x="1190" y="134"/>
                    <a:pt x="1185" y="135"/>
                  </a:cubicBezTo>
                  <a:cubicBezTo>
                    <a:pt x="1180" y="137"/>
                    <a:pt x="1175" y="137"/>
                    <a:pt x="1169" y="137"/>
                  </a:cubicBezTo>
                  <a:cubicBezTo>
                    <a:pt x="1164" y="137"/>
                    <a:pt x="1159" y="137"/>
                    <a:pt x="1154" y="136"/>
                  </a:cubicBezTo>
                  <a:cubicBezTo>
                    <a:pt x="1150" y="135"/>
                    <a:pt x="1146" y="134"/>
                    <a:pt x="1143" y="133"/>
                  </a:cubicBezTo>
                  <a:cubicBezTo>
                    <a:pt x="1143" y="130"/>
                    <a:pt x="1143" y="127"/>
                    <a:pt x="1144" y="125"/>
                  </a:cubicBezTo>
                  <a:cubicBezTo>
                    <a:pt x="1145" y="123"/>
                    <a:pt x="1146" y="120"/>
                    <a:pt x="1147" y="118"/>
                  </a:cubicBezTo>
                  <a:cubicBezTo>
                    <a:pt x="1150" y="119"/>
                    <a:pt x="1154" y="120"/>
                    <a:pt x="1158" y="121"/>
                  </a:cubicBezTo>
                  <a:cubicBezTo>
                    <a:pt x="1163" y="122"/>
                    <a:pt x="1167" y="122"/>
                    <a:pt x="1170" y="122"/>
                  </a:cubicBezTo>
                  <a:cubicBezTo>
                    <a:pt x="1173" y="122"/>
                    <a:pt x="1176" y="122"/>
                    <a:pt x="1179" y="122"/>
                  </a:cubicBezTo>
                  <a:cubicBezTo>
                    <a:pt x="1181" y="121"/>
                    <a:pt x="1184" y="120"/>
                    <a:pt x="1186" y="119"/>
                  </a:cubicBezTo>
                  <a:cubicBezTo>
                    <a:pt x="1188" y="118"/>
                    <a:pt x="1189" y="116"/>
                    <a:pt x="1190" y="114"/>
                  </a:cubicBezTo>
                  <a:cubicBezTo>
                    <a:pt x="1192" y="112"/>
                    <a:pt x="1192" y="110"/>
                    <a:pt x="1192" y="107"/>
                  </a:cubicBezTo>
                  <a:cubicBezTo>
                    <a:pt x="1192" y="103"/>
                    <a:pt x="1191" y="100"/>
                    <a:pt x="1189" y="99"/>
                  </a:cubicBezTo>
                  <a:cubicBezTo>
                    <a:pt x="1187" y="97"/>
                    <a:pt x="1184" y="95"/>
                    <a:pt x="1180" y="93"/>
                  </a:cubicBezTo>
                  <a:lnTo>
                    <a:pt x="1174" y="91"/>
                  </a:lnTo>
                  <a:close/>
                  <a:moveTo>
                    <a:pt x="1253" y="91"/>
                  </a:moveTo>
                  <a:cubicBezTo>
                    <a:pt x="1251" y="90"/>
                    <a:pt x="1249" y="89"/>
                    <a:pt x="1247" y="88"/>
                  </a:cubicBezTo>
                  <a:cubicBezTo>
                    <a:pt x="1245" y="87"/>
                    <a:pt x="1243" y="86"/>
                    <a:pt x="1242" y="84"/>
                  </a:cubicBezTo>
                  <a:cubicBezTo>
                    <a:pt x="1240" y="82"/>
                    <a:pt x="1238" y="80"/>
                    <a:pt x="1237" y="77"/>
                  </a:cubicBezTo>
                  <a:cubicBezTo>
                    <a:pt x="1236" y="75"/>
                    <a:pt x="1236" y="72"/>
                    <a:pt x="1236" y="68"/>
                  </a:cubicBezTo>
                  <a:cubicBezTo>
                    <a:pt x="1236" y="63"/>
                    <a:pt x="1236" y="59"/>
                    <a:pt x="1238" y="56"/>
                  </a:cubicBezTo>
                  <a:cubicBezTo>
                    <a:pt x="1240" y="52"/>
                    <a:pt x="1243" y="49"/>
                    <a:pt x="1246" y="47"/>
                  </a:cubicBezTo>
                  <a:cubicBezTo>
                    <a:pt x="1249" y="44"/>
                    <a:pt x="1253" y="42"/>
                    <a:pt x="1258" y="41"/>
                  </a:cubicBezTo>
                  <a:cubicBezTo>
                    <a:pt x="1262" y="40"/>
                    <a:pt x="1267" y="39"/>
                    <a:pt x="1273" y="39"/>
                  </a:cubicBezTo>
                  <a:cubicBezTo>
                    <a:pt x="1278" y="39"/>
                    <a:pt x="1283" y="39"/>
                    <a:pt x="1287" y="41"/>
                  </a:cubicBezTo>
                  <a:cubicBezTo>
                    <a:pt x="1292" y="42"/>
                    <a:pt x="1295" y="43"/>
                    <a:pt x="1298" y="44"/>
                  </a:cubicBezTo>
                  <a:cubicBezTo>
                    <a:pt x="1297" y="49"/>
                    <a:pt x="1295" y="54"/>
                    <a:pt x="1293" y="58"/>
                  </a:cubicBezTo>
                  <a:cubicBezTo>
                    <a:pt x="1291" y="57"/>
                    <a:pt x="1288" y="56"/>
                    <a:pt x="1284" y="55"/>
                  </a:cubicBezTo>
                  <a:cubicBezTo>
                    <a:pt x="1280" y="54"/>
                    <a:pt x="1276" y="53"/>
                    <a:pt x="1272" y="53"/>
                  </a:cubicBezTo>
                  <a:cubicBezTo>
                    <a:pt x="1267" y="53"/>
                    <a:pt x="1263" y="54"/>
                    <a:pt x="1259" y="56"/>
                  </a:cubicBezTo>
                  <a:cubicBezTo>
                    <a:pt x="1256" y="58"/>
                    <a:pt x="1254" y="61"/>
                    <a:pt x="1254" y="66"/>
                  </a:cubicBezTo>
                  <a:cubicBezTo>
                    <a:pt x="1254" y="68"/>
                    <a:pt x="1255" y="71"/>
                    <a:pt x="1257" y="73"/>
                  </a:cubicBezTo>
                  <a:cubicBezTo>
                    <a:pt x="1258" y="75"/>
                    <a:pt x="1261" y="76"/>
                    <a:pt x="1265" y="78"/>
                  </a:cubicBezTo>
                  <a:cubicBezTo>
                    <a:pt x="1269" y="80"/>
                    <a:pt x="1269" y="80"/>
                    <a:pt x="1269" y="80"/>
                  </a:cubicBezTo>
                  <a:cubicBezTo>
                    <a:pt x="1272" y="81"/>
                    <a:pt x="1274" y="82"/>
                    <a:pt x="1277" y="83"/>
                  </a:cubicBezTo>
                  <a:cubicBezTo>
                    <a:pt x="1279" y="85"/>
                    <a:pt x="1281" y="86"/>
                    <a:pt x="1283" y="88"/>
                  </a:cubicBezTo>
                  <a:cubicBezTo>
                    <a:pt x="1285" y="90"/>
                    <a:pt x="1287" y="92"/>
                    <a:pt x="1288" y="94"/>
                  </a:cubicBezTo>
                  <a:cubicBezTo>
                    <a:pt x="1290" y="97"/>
                    <a:pt x="1290" y="100"/>
                    <a:pt x="1290" y="104"/>
                  </a:cubicBezTo>
                  <a:cubicBezTo>
                    <a:pt x="1290" y="109"/>
                    <a:pt x="1289" y="114"/>
                    <a:pt x="1287" y="119"/>
                  </a:cubicBezTo>
                  <a:cubicBezTo>
                    <a:pt x="1285" y="123"/>
                    <a:pt x="1282" y="126"/>
                    <a:pt x="1278" y="129"/>
                  </a:cubicBezTo>
                  <a:cubicBezTo>
                    <a:pt x="1274" y="132"/>
                    <a:pt x="1270" y="134"/>
                    <a:pt x="1265" y="135"/>
                  </a:cubicBezTo>
                  <a:cubicBezTo>
                    <a:pt x="1259" y="137"/>
                    <a:pt x="1254" y="137"/>
                    <a:pt x="1248" y="137"/>
                  </a:cubicBezTo>
                  <a:cubicBezTo>
                    <a:pt x="1243" y="137"/>
                    <a:pt x="1238" y="137"/>
                    <a:pt x="1234" y="136"/>
                  </a:cubicBezTo>
                  <a:cubicBezTo>
                    <a:pt x="1229" y="135"/>
                    <a:pt x="1225" y="134"/>
                    <a:pt x="1222" y="133"/>
                  </a:cubicBezTo>
                  <a:cubicBezTo>
                    <a:pt x="1222" y="130"/>
                    <a:pt x="1223" y="127"/>
                    <a:pt x="1224" y="125"/>
                  </a:cubicBezTo>
                  <a:cubicBezTo>
                    <a:pt x="1224" y="123"/>
                    <a:pt x="1225" y="120"/>
                    <a:pt x="1227" y="118"/>
                  </a:cubicBezTo>
                  <a:cubicBezTo>
                    <a:pt x="1230" y="119"/>
                    <a:pt x="1233" y="120"/>
                    <a:pt x="1238" y="121"/>
                  </a:cubicBezTo>
                  <a:cubicBezTo>
                    <a:pt x="1242" y="122"/>
                    <a:pt x="1246" y="122"/>
                    <a:pt x="1250" y="122"/>
                  </a:cubicBezTo>
                  <a:cubicBezTo>
                    <a:pt x="1253" y="122"/>
                    <a:pt x="1256" y="122"/>
                    <a:pt x="1258" y="122"/>
                  </a:cubicBezTo>
                  <a:cubicBezTo>
                    <a:pt x="1261" y="121"/>
                    <a:pt x="1263" y="120"/>
                    <a:pt x="1265" y="119"/>
                  </a:cubicBezTo>
                  <a:cubicBezTo>
                    <a:pt x="1267" y="118"/>
                    <a:pt x="1269" y="116"/>
                    <a:pt x="1270" y="114"/>
                  </a:cubicBezTo>
                  <a:cubicBezTo>
                    <a:pt x="1271" y="112"/>
                    <a:pt x="1272" y="110"/>
                    <a:pt x="1272" y="107"/>
                  </a:cubicBezTo>
                  <a:cubicBezTo>
                    <a:pt x="1272" y="103"/>
                    <a:pt x="1271" y="100"/>
                    <a:pt x="1268" y="99"/>
                  </a:cubicBezTo>
                  <a:cubicBezTo>
                    <a:pt x="1266" y="97"/>
                    <a:pt x="1263" y="95"/>
                    <a:pt x="1259" y="93"/>
                  </a:cubicBezTo>
                  <a:lnTo>
                    <a:pt x="1253" y="91"/>
                  </a:lnTo>
                  <a:close/>
                  <a:moveTo>
                    <a:pt x="1326" y="56"/>
                  </a:moveTo>
                  <a:cubicBezTo>
                    <a:pt x="1315" y="56"/>
                    <a:pt x="1315" y="56"/>
                    <a:pt x="1315" y="56"/>
                  </a:cubicBezTo>
                  <a:cubicBezTo>
                    <a:pt x="1315" y="53"/>
                    <a:pt x="1315" y="51"/>
                    <a:pt x="1315" y="48"/>
                  </a:cubicBezTo>
                  <a:cubicBezTo>
                    <a:pt x="1316" y="46"/>
                    <a:pt x="1316" y="44"/>
                    <a:pt x="1317" y="41"/>
                  </a:cubicBezTo>
                  <a:cubicBezTo>
                    <a:pt x="1347" y="41"/>
                    <a:pt x="1347" y="41"/>
                    <a:pt x="1347" y="41"/>
                  </a:cubicBezTo>
                  <a:cubicBezTo>
                    <a:pt x="1330" y="135"/>
                    <a:pt x="1330" y="135"/>
                    <a:pt x="1330" y="135"/>
                  </a:cubicBezTo>
                  <a:cubicBezTo>
                    <a:pt x="1329" y="135"/>
                    <a:pt x="1327" y="135"/>
                    <a:pt x="1326" y="135"/>
                  </a:cubicBezTo>
                  <a:cubicBezTo>
                    <a:pt x="1324" y="136"/>
                    <a:pt x="1322" y="136"/>
                    <a:pt x="1321" y="136"/>
                  </a:cubicBezTo>
                  <a:cubicBezTo>
                    <a:pt x="1320" y="136"/>
                    <a:pt x="1318" y="136"/>
                    <a:pt x="1317" y="135"/>
                  </a:cubicBezTo>
                  <a:cubicBezTo>
                    <a:pt x="1315" y="135"/>
                    <a:pt x="1314" y="135"/>
                    <a:pt x="1312" y="135"/>
                  </a:cubicBezTo>
                  <a:lnTo>
                    <a:pt x="1326" y="56"/>
                  </a:lnTo>
                  <a:close/>
                  <a:moveTo>
                    <a:pt x="1326" y="22"/>
                  </a:moveTo>
                  <a:cubicBezTo>
                    <a:pt x="1326" y="18"/>
                    <a:pt x="1326" y="15"/>
                    <a:pt x="1327" y="12"/>
                  </a:cubicBezTo>
                  <a:cubicBezTo>
                    <a:pt x="1328" y="8"/>
                    <a:pt x="1328" y="5"/>
                    <a:pt x="1329" y="2"/>
                  </a:cubicBezTo>
                  <a:cubicBezTo>
                    <a:pt x="1331" y="2"/>
                    <a:pt x="1333" y="1"/>
                    <a:pt x="1335" y="1"/>
                  </a:cubicBezTo>
                  <a:cubicBezTo>
                    <a:pt x="1337" y="1"/>
                    <a:pt x="1339" y="1"/>
                    <a:pt x="1340" y="1"/>
                  </a:cubicBezTo>
                  <a:cubicBezTo>
                    <a:pt x="1342" y="1"/>
                    <a:pt x="1343" y="1"/>
                    <a:pt x="1345" y="1"/>
                  </a:cubicBezTo>
                  <a:cubicBezTo>
                    <a:pt x="1347" y="1"/>
                    <a:pt x="1349" y="2"/>
                    <a:pt x="1350" y="2"/>
                  </a:cubicBezTo>
                  <a:cubicBezTo>
                    <a:pt x="1350" y="5"/>
                    <a:pt x="1350" y="9"/>
                    <a:pt x="1349" y="12"/>
                  </a:cubicBezTo>
                  <a:cubicBezTo>
                    <a:pt x="1349" y="15"/>
                    <a:pt x="1348" y="19"/>
                    <a:pt x="1347" y="22"/>
                  </a:cubicBezTo>
                  <a:cubicBezTo>
                    <a:pt x="1345" y="22"/>
                    <a:pt x="1343" y="22"/>
                    <a:pt x="1341" y="22"/>
                  </a:cubicBezTo>
                  <a:cubicBezTo>
                    <a:pt x="1339" y="22"/>
                    <a:pt x="1338" y="22"/>
                    <a:pt x="1336" y="22"/>
                  </a:cubicBezTo>
                  <a:cubicBezTo>
                    <a:pt x="1335" y="22"/>
                    <a:pt x="1333" y="22"/>
                    <a:pt x="1331" y="22"/>
                  </a:cubicBezTo>
                  <a:cubicBezTo>
                    <a:pt x="1329" y="22"/>
                    <a:pt x="1328" y="22"/>
                    <a:pt x="1326" y="22"/>
                  </a:cubicBezTo>
                  <a:close/>
                  <a:moveTo>
                    <a:pt x="1378" y="38"/>
                  </a:moveTo>
                  <a:cubicBezTo>
                    <a:pt x="1379" y="32"/>
                    <a:pt x="1380" y="26"/>
                    <a:pt x="1380" y="21"/>
                  </a:cubicBezTo>
                  <a:cubicBezTo>
                    <a:pt x="1381" y="16"/>
                    <a:pt x="1381" y="11"/>
                    <a:pt x="1381" y="8"/>
                  </a:cubicBezTo>
                  <a:cubicBezTo>
                    <a:pt x="1381" y="6"/>
                    <a:pt x="1381" y="5"/>
                    <a:pt x="1381" y="4"/>
                  </a:cubicBezTo>
                  <a:cubicBezTo>
                    <a:pt x="1381" y="3"/>
                    <a:pt x="1381" y="2"/>
                    <a:pt x="1381" y="1"/>
                  </a:cubicBezTo>
                  <a:cubicBezTo>
                    <a:pt x="1383" y="1"/>
                    <a:pt x="1384" y="0"/>
                    <a:pt x="1386" y="0"/>
                  </a:cubicBezTo>
                  <a:cubicBezTo>
                    <a:pt x="1388" y="0"/>
                    <a:pt x="1390" y="0"/>
                    <a:pt x="1391" y="0"/>
                  </a:cubicBezTo>
                  <a:cubicBezTo>
                    <a:pt x="1392" y="0"/>
                    <a:pt x="1394" y="0"/>
                    <a:pt x="1395" y="0"/>
                  </a:cubicBezTo>
                  <a:cubicBezTo>
                    <a:pt x="1397" y="0"/>
                    <a:pt x="1398" y="0"/>
                    <a:pt x="1399" y="1"/>
                  </a:cubicBezTo>
                  <a:cubicBezTo>
                    <a:pt x="1400" y="2"/>
                    <a:pt x="1400" y="3"/>
                    <a:pt x="1400" y="4"/>
                  </a:cubicBezTo>
                  <a:cubicBezTo>
                    <a:pt x="1400" y="5"/>
                    <a:pt x="1400" y="6"/>
                    <a:pt x="1400" y="7"/>
                  </a:cubicBezTo>
                  <a:cubicBezTo>
                    <a:pt x="1400" y="10"/>
                    <a:pt x="1400" y="14"/>
                    <a:pt x="1399" y="18"/>
                  </a:cubicBezTo>
                  <a:cubicBezTo>
                    <a:pt x="1398" y="23"/>
                    <a:pt x="1398" y="27"/>
                    <a:pt x="1397" y="31"/>
                  </a:cubicBezTo>
                  <a:cubicBezTo>
                    <a:pt x="1393" y="55"/>
                    <a:pt x="1393" y="55"/>
                    <a:pt x="1393" y="55"/>
                  </a:cubicBezTo>
                  <a:cubicBezTo>
                    <a:pt x="1394" y="53"/>
                    <a:pt x="1396" y="51"/>
                    <a:pt x="1398" y="49"/>
                  </a:cubicBezTo>
                  <a:cubicBezTo>
                    <a:pt x="1400" y="47"/>
                    <a:pt x="1402" y="45"/>
                    <a:pt x="1404" y="44"/>
                  </a:cubicBezTo>
                  <a:cubicBezTo>
                    <a:pt x="1407" y="42"/>
                    <a:pt x="1410" y="41"/>
                    <a:pt x="1413" y="40"/>
                  </a:cubicBezTo>
                  <a:cubicBezTo>
                    <a:pt x="1416" y="39"/>
                    <a:pt x="1419" y="39"/>
                    <a:pt x="1423" y="39"/>
                  </a:cubicBezTo>
                  <a:cubicBezTo>
                    <a:pt x="1431" y="39"/>
                    <a:pt x="1438" y="42"/>
                    <a:pt x="1443" y="48"/>
                  </a:cubicBezTo>
                  <a:cubicBezTo>
                    <a:pt x="1448" y="54"/>
                    <a:pt x="1450" y="62"/>
                    <a:pt x="1450" y="73"/>
                  </a:cubicBezTo>
                  <a:cubicBezTo>
                    <a:pt x="1450" y="81"/>
                    <a:pt x="1449" y="90"/>
                    <a:pt x="1446" y="97"/>
                  </a:cubicBezTo>
                  <a:cubicBezTo>
                    <a:pt x="1444" y="105"/>
                    <a:pt x="1440" y="112"/>
                    <a:pt x="1435" y="118"/>
                  </a:cubicBezTo>
                  <a:cubicBezTo>
                    <a:pt x="1429" y="124"/>
                    <a:pt x="1423" y="129"/>
                    <a:pt x="1415" y="132"/>
                  </a:cubicBezTo>
                  <a:cubicBezTo>
                    <a:pt x="1407" y="135"/>
                    <a:pt x="1397" y="137"/>
                    <a:pt x="1386" y="137"/>
                  </a:cubicBezTo>
                  <a:cubicBezTo>
                    <a:pt x="1382" y="137"/>
                    <a:pt x="1377" y="137"/>
                    <a:pt x="1373" y="136"/>
                  </a:cubicBezTo>
                  <a:cubicBezTo>
                    <a:pt x="1368" y="135"/>
                    <a:pt x="1364" y="134"/>
                    <a:pt x="1361" y="133"/>
                  </a:cubicBezTo>
                  <a:lnTo>
                    <a:pt x="1378" y="38"/>
                  </a:lnTo>
                  <a:close/>
                  <a:moveTo>
                    <a:pt x="1381" y="121"/>
                  </a:moveTo>
                  <a:cubicBezTo>
                    <a:pt x="1382" y="121"/>
                    <a:pt x="1384" y="121"/>
                    <a:pt x="1386" y="122"/>
                  </a:cubicBezTo>
                  <a:cubicBezTo>
                    <a:pt x="1388" y="122"/>
                    <a:pt x="1390" y="122"/>
                    <a:pt x="1392" y="122"/>
                  </a:cubicBezTo>
                  <a:cubicBezTo>
                    <a:pt x="1397" y="122"/>
                    <a:pt x="1402" y="121"/>
                    <a:pt x="1407" y="119"/>
                  </a:cubicBezTo>
                  <a:cubicBezTo>
                    <a:pt x="1412" y="116"/>
                    <a:pt x="1416" y="113"/>
                    <a:pt x="1420" y="109"/>
                  </a:cubicBezTo>
                  <a:cubicBezTo>
                    <a:pt x="1423" y="105"/>
                    <a:pt x="1426" y="100"/>
                    <a:pt x="1428" y="94"/>
                  </a:cubicBezTo>
                  <a:cubicBezTo>
                    <a:pt x="1430" y="89"/>
                    <a:pt x="1431" y="83"/>
                    <a:pt x="1431" y="76"/>
                  </a:cubicBezTo>
                  <a:cubicBezTo>
                    <a:pt x="1431" y="69"/>
                    <a:pt x="1430" y="64"/>
                    <a:pt x="1427" y="60"/>
                  </a:cubicBezTo>
                  <a:cubicBezTo>
                    <a:pt x="1424" y="57"/>
                    <a:pt x="1420" y="55"/>
                    <a:pt x="1415" y="55"/>
                  </a:cubicBezTo>
                  <a:cubicBezTo>
                    <a:pt x="1411" y="55"/>
                    <a:pt x="1408" y="55"/>
                    <a:pt x="1405" y="57"/>
                  </a:cubicBezTo>
                  <a:cubicBezTo>
                    <a:pt x="1403" y="58"/>
                    <a:pt x="1400" y="60"/>
                    <a:pt x="1397" y="63"/>
                  </a:cubicBezTo>
                  <a:cubicBezTo>
                    <a:pt x="1395" y="66"/>
                    <a:pt x="1393" y="70"/>
                    <a:pt x="1391" y="75"/>
                  </a:cubicBezTo>
                  <a:cubicBezTo>
                    <a:pt x="1389" y="79"/>
                    <a:pt x="1387" y="85"/>
                    <a:pt x="1386" y="92"/>
                  </a:cubicBezTo>
                  <a:lnTo>
                    <a:pt x="1381" y="121"/>
                  </a:lnTo>
                  <a:close/>
                  <a:moveTo>
                    <a:pt x="1477" y="39"/>
                  </a:moveTo>
                  <a:cubicBezTo>
                    <a:pt x="1479" y="32"/>
                    <a:pt x="1480" y="26"/>
                    <a:pt x="1480" y="21"/>
                  </a:cubicBezTo>
                  <a:cubicBezTo>
                    <a:pt x="1481" y="16"/>
                    <a:pt x="1481" y="11"/>
                    <a:pt x="1481" y="8"/>
                  </a:cubicBezTo>
                  <a:cubicBezTo>
                    <a:pt x="1481" y="6"/>
                    <a:pt x="1481" y="5"/>
                    <a:pt x="1481" y="4"/>
                  </a:cubicBezTo>
                  <a:cubicBezTo>
                    <a:pt x="1481" y="3"/>
                    <a:pt x="1481" y="2"/>
                    <a:pt x="1481" y="1"/>
                  </a:cubicBezTo>
                  <a:cubicBezTo>
                    <a:pt x="1483" y="1"/>
                    <a:pt x="1484" y="0"/>
                    <a:pt x="1486" y="0"/>
                  </a:cubicBezTo>
                  <a:cubicBezTo>
                    <a:pt x="1488" y="0"/>
                    <a:pt x="1490" y="0"/>
                    <a:pt x="1491" y="0"/>
                  </a:cubicBezTo>
                  <a:cubicBezTo>
                    <a:pt x="1492" y="0"/>
                    <a:pt x="1494" y="0"/>
                    <a:pt x="1495" y="0"/>
                  </a:cubicBezTo>
                  <a:cubicBezTo>
                    <a:pt x="1497" y="0"/>
                    <a:pt x="1498" y="1"/>
                    <a:pt x="1499" y="1"/>
                  </a:cubicBezTo>
                  <a:cubicBezTo>
                    <a:pt x="1500" y="2"/>
                    <a:pt x="1500" y="3"/>
                    <a:pt x="1500" y="4"/>
                  </a:cubicBezTo>
                  <a:cubicBezTo>
                    <a:pt x="1500" y="5"/>
                    <a:pt x="1500" y="6"/>
                    <a:pt x="1500" y="8"/>
                  </a:cubicBezTo>
                  <a:cubicBezTo>
                    <a:pt x="1500" y="9"/>
                    <a:pt x="1500" y="11"/>
                    <a:pt x="1500" y="12"/>
                  </a:cubicBezTo>
                  <a:cubicBezTo>
                    <a:pt x="1499" y="14"/>
                    <a:pt x="1499" y="16"/>
                    <a:pt x="1499" y="18"/>
                  </a:cubicBezTo>
                  <a:cubicBezTo>
                    <a:pt x="1499" y="20"/>
                    <a:pt x="1498" y="23"/>
                    <a:pt x="1498" y="25"/>
                  </a:cubicBezTo>
                  <a:cubicBezTo>
                    <a:pt x="1498" y="27"/>
                    <a:pt x="1497" y="29"/>
                    <a:pt x="1497" y="31"/>
                  </a:cubicBezTo>
                  <a:cubicBezTo>
                    <a:pt x="1483" y="108"/>
                    <a:pt x="1483" y="108"/>
                    <a:pt x="1483" y="108"/>
                  </a:cubicBezTo>
                  <a:cubicBezTo>
                    <a:pt x="1482" y="110"/>
                    <a:pt x="1482" y="112"/>
                    <a:pt x="1482" y="113"/>
                  </a:cubicBezTo>
                  <a:cubicBezTo>
                    <a:pt x="1482" y="115"/>
                    <a:pt x="1482" y="117"/>
                    <a:pt x="1483" y="118"/>
                  </a:cubicBezTo>
                  <a:cubicBezTo>
                    <a:pt x="1483" y="119"/>
                    <a:pt x="1484" y="120"/>
                    <a:pt x="1485" y="120"/>
                  </a:cubicBezTo>
                  <a:cubicBezTo>
                    <a:pt x="1486" y="121"/>
                    <a:pt x="1487" y="121"/>
                    <a:pt x="1488" y="122"/>
                  </a:cubicBezTo>
                  <a:cubicBezTo>
                    <a:pt x="1489" y="122"/>
                    <a:pt x="1490" y="122"/>
                    <a:pt x="1491" y="122"/>
                  </a:cubicBezTo>
                  <a:cubicBezTo>
                    <a:pt x="1492" y="122"/>
                    <a:pt x="1493" y="122"/>
                    <a:pt x="1495" y="121"/>
                  </a:cubicBezTo>
                  <a:cubicBezTo>
                    <a:pt x="1496" y="121"/>
                    <a:pt x="1497" y="121"/>
                    <a:pt x="1498" y="121"/>
                  </a:cubicBezTo>
                  <a:cubicBezTo>
                    <a:pt x="1499" y="124"/>
                    <a:pt x="1500" y="128"/>
                    <a:pt x="1500" y="132"/>
                  </a:cubicBezTo>
                  <a:cubicBezTo>
                    <a:pt x="1500" y="132"/>
                    <a:pt x="1500" y="133"/>
                    <a:pt x="1500" y="133"/>
                  </a:cubicBezTo>
                  <a:cubicBezTo>
                    <a:pt x="1500" y="134"/>
                    <a:pt x="1500" y="134"/>
                    <a:pt x="1500" y="134"/>
                  </a:cubicBezTo>
                  <a:cubicBezTo>
                    <a:pt x="1498" y="135"/>
                    <a:pt x="1496" y="136"/>
                    <a:pt x="1493" y="136"/>
                  </a:cubicBezTo>
                  <a:cubicBezTo>
                    <a:pt x="1490" y="136"/>
                    <a:pt x="1488" y="136"/>
                    <a:pt x="1485" y="136"/>
                  </a:cubicBezTo>
                  <a:cubicBezTo>
                    <a:pt x="1482" y="136"/>
                    <a:pt x="1479" y="136"/>
                    <a:pt x="1476" y="135"/>
                  </a:cubicBezTo>
                  <a:cubicBezTo>
                    <a:pt x="1474" y="135"/>
                    <a:pt x="1472" y="134"/>
                    <a:pt x="1470" y="132"/>
                  </a:cubicBezTo>
                  <a:cubicBezTo>
                    <a:pt x="1468" y="131"/>
                    <a:pt x="1466" y="128"/>
                    <a:pt x="1465" y="126"/>
                  </a:cubicBezTo>
                  <a:cubicBezTo>
                    <a:pt x="1464" y="123"/>
                    <a:pt x="1464" y="120"/>
                    <a:pt x="1464" y="116"/>
                  </a:cubicBezTo>
                  <a:cubicBezTo>
                    <a:pt x="1464" y="114"/>
                    <a:pt x="1464" y="111"/>
                    <a:pt x="1464" y="109"/>
                  </a:cubicBezTo>
                  <a:cubicBezTo>
                    <a:pt x="1465" y="106"/>
                    <a:pt x="1465" y="104"/>
                    <a:pt x="1466" y="101"/>
                  </a:cubicBezTo>
                  <a:lnTo>
                    <a:pt x="1477" y="39"/>
                  </a:lnTo>
                  <a:close/>
                  <a:moveTo>
                    <a:pt x="1532" y="98"/>
                  </a:moveTo>
                  <a:cubicBezTo>
                    <a:pt x="1533" y="106"/>
                    <a:pt x="1535" y="112"/>
                    <a:pt x="1538" y="116"/>
                  </a:cubicBezTo>
                  <a:cubicBezTo>
                    <a:pt x="1542" y="120"/>
                    <a:pt x="1548" y="122"/>
                    <a:pt x="1556" y="122"/>
                  </a:cubicBezTo>
                  <a:cubicBezTo>
                    <a:pt x="1561" y="122"/>
                    <a:pt x="1566" y="122"/>
                    <a:pt x="1570" y="121"/>
                  </a:cubicBezTo>
                  <a:cubicBezTo>
                    <a:pt x="1574" y="120"/>
                    <a:pt x="1578" y="118"/>
                    <a:pt x="1582" y="117"/>
                  </a:cubicBezTo>
                  <a:cubicBezTo>
                    <a:pt x="1583" y="119"/>
                    <a:pt x="1584" y="121"/>
                    <a:pt x="1584" y="124"/>
                  </a:cubicBezTo>
                  <a:cubicBezTo>
                    <a:pt x="1585" y="126"/>
                    <a:pt x="1585" y="129"/>
                    <a:pt x="1585" y="131"/>
                  </a:cubicBezTo>
                  <a:cubicBezTo>
                    <a:pt x="1583" y="132"/>
                    <a:pt x="1581" y="133"/>
                    <a:pt x="1578" y="134"/>
                  </a:cubicBezTo>
                  <a:cubicBezTo>
                    <a:pt x="1576" y="134"/>
                    <a:pt x="1573" y="135"/>
                    <a:pt x="1570" y="135"/>
                  </a:cubicBezTo>
                  <a:cubicBezTo>
                    <a:pt x="1567" y="136"/>
                    <a:pt x="1564" y="136"/>
                    <a:pt x="1561" y="137"/>
                  </a:cubicBezTo>
                  <a:cubicBezTo>
                    <a:pt x="1558" y="137"/>
                    <a:pt x="1556" y="137"/>
                    <a:pt x="1553" y="137"/>
                  </a:cubicBezTo>
                  <a:cubicBezTo>
                    <a:pt x="1546" y="137"/>
                    <a:pt x="1540" y="136"/>
                    <a:pt x="1535" y="134"/>
                  </a:cubicBezTo>
                  <a:cubicBezTo>
                    <a:pt x="1530" y="132"/>
                    <a:pt x="1526" y="130"/>
                    <a:pt x="1523" y="127"/>
                  </a:cubicBezTo>
                  <a:cubicBezTo>
                    <a:pt x="1520" y="123"/>
                    <a:pt x="1518" y="119"/>
                    <a:pt x="1516" y="115"/>
                  </a:cubicBezTo>
                  <a:cubicBezTo>
                    <a:pt x="1515" y="110"/>
                    <a:pt x="1514" y="105"/>
                    <a:pt x="1514" y="100"/>
                  </a:cubicBezTo>
                  <a:cubicBezTo>
                    <a:pt x="1514" y="92"/>
                    <a:pt x="1515" y="85"/>
                    <a:pt x="1518" y="78"/>
                  </a:cubicBezTo>
                  <a:cubicBezTo>
                    <a:pt x="1520" y="70"/>
                    <a:pt x="1524" y="64"/>
                    <a:pt x="1529" y="58"/>
                  </a:cubicBezTo>
                  <a:cubicBezTo>
                    <a:pt x="1533" y="52"/>
                    <a:pt x="1539" y="48"/>
                    <a:pt x="1545" y="44"/>
                  </a:cubicBezTo>
                  <a:cubicBezTo>
                    <a:pt x="1552" y="41"/>
                    <a:pt x="1559" y="39"/>
                    <a:pt x="1567" y="39"/>
                  </a:cubicBezTo>
                  <a:cubicBezTo>
                    <a:pt x="1575" y="39"/>
                    <a:pt x="1582" y="41"/>
                    <a:pt x="1586" y="45"/>
                  </a:cubicBezTo>
                  <a:cubicBezTo>
                    <a:pt x="1591" y="49"/>
                    <a:pt x="1594" y="54"/>
                    <a:pt x="1594" y="61"/>
                  </a:cubicBezTo>
                  <a:cubicBezTo>
                    <a:pt x="1594" y="66"/>
                    <a:pt x="1592" y="71"/>
                    <a:pt x="1590" y="75"/>
                  </a:cubicBezTo>
                  <a:cubicBezTo>
                    <a:pt x="1587" y="79"/>
                    <a:pt x="1583" y="82"/>
                    <a:pt x="1579" y="85"/>
                  </a:cubicBezTo>
                  <a:cubicBezTo>
                    <a:pt x="1574" y="88"/>
                    <a:pt x="1569" y="90"/>
                    <a:pt x="1562" y="92"/>
                  </a:cubicBezTo>
                  <a:cubicBezTo>
                    <a:pt x="1556" y="94"/>
                    <a:pt x="1549" y="95"/>
                    <a:pt x="1542" y="96"/>
                  </a:cubicBezTo>
                  <a:lnTo>
                    <a:pt x="1532" y="98"/>
                  </a:lnTo>
                  <a:close/>
                  <a:moveTo>
                    <a:pt x="1544" y="82"/>
                  </a:moveTo>
                  <a:cubicBezTo>
                    <a:pt x="1550" y="81"/>
                    <a:pt x="1555" y="80"/>
                    <a:pt x="1559" y="79"/>
                  </a:cubicBezTo>
                  <a:cubicBezTo>
                    <a:pt x="1563" y="77"/>
                    <a:pt x="1567" y="76"/>
                    <a:pt x="1569" y="74"/>
                  </a:cubicBezTo>
                  <a:cubicBezTo>
                    <a:pt x="1571" y="72"/>
                    <a:pt x="1573" y="71"/>
                    <a:pt x="1574" y="69"/>
                  </a:cubicBezTo>
                  <a:cubicBezTo>
                    <a:pt x="1575" y="67"/>
                    <a:pt x="1576" y="65"/>
                    <a:pt x="1576" y="63"/>
                  </a:cubicBezTo>
                  <a:cubicBezTo>
                    <a:pt x="1576" y="60"/>
                    <a:pt x="1575" y="58"/>
                    <a:pt x="1573" y="56"/>
                  </a:cubicBezTo>
                  <a:cubicBezTo>
                    <a:pt x="1571" y="54"/>
                    <a:pt x="1568" y="53"/>
                    <a:pt x="1564" y="53"/>
                  </a:cubicBezTo>
                  <a:cubicBezTo>
                    <a:pt x="1560" y="53"/>
                    <a:pt x="1557" y="54"/>
                    <a:pt x="1553" y="56"/>
                  </a:cubicBezTo>
                  <a:cubicBezTo>
                    <a:pt x="1550" y="58"/>
                    <a:pt x="1547" y="60"/>
                    <a:pt x="1545" y="63"/>
                  </a:cubicBezTo>
                  <a:cubicBezTo>
                    <a:pt x="1542" y="66"/>
                    <a:pt x="1540" y="69"/>
                    <a:pt x="1538" y="73"/>
                  </a:cubicBezTo>
                  <a:cubicBezTo>
                    <a:pt x="1536" y="76"/>
                    <a:pt x="1535" y="80"/>
                    <a:pt x="1534" y="84"/>
                  </a:cubicBezTo>
                  <a:lnTo>
                    <a:pt x="1544" y="8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4D4F5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14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F146BB4-4C69-E547-AADA-49DF7B840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venue Management more than </a:t>
            </a:r>
            <a:r>
              <a:rPr lang="en-US"/>
              <a:t>just Pricing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6BC8CDF3-D4B1-2F4F-BC2B-A1E10B7814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98419" y="1831593"/>
            <a:ext cx="7540906" cy="1540258"/>
          </a:xfrm>
        </p:spPr>
        <p:txBody>
          <a:bodyPr>
            <a:normAutofit fontScale="92500" lnSpcReduction="10000"/>
          </a:bodyPr>
          <a:lstStyle/>
          <a:p>
            <a:pPr algn="ctr"/>
            <a:r>
              <a:rPr lang="en-US" sz="2400" b="1" dirty="0">
                <a:solidFill>
                  <a:srgbClr val="333333"/>
                </a:solidFill>
              </a:rPr>
              <a:t>Revenue management</a:t>
            </a:r>
            <a:r>
              <a:rPr lang="en-US" sz="2400" dirty="0">
                <a:solidFill>
                  <a:srgbClr val="333333"/>
                </a:solidFill>
              </a:rPr>
              <a:t> is the application of </a:t>
            </a:r>
            <a:r>
              <a:rPr lang="en-US" sz="2400" b="1" dirty="0">
                <a:solidFill>
                  <a:srgbClr val="333333"/>
                </a:solidFill>
              </a:rPr>
              <a:t>disciplined, integrated analytics</a:t>
            </a:r>
            <a:r>
              <a:rPr lang="en-US" sz="2400" dirty="0">
                <a:solidFill>
                  <a:srgbClr val="333333"/>
                </a:solidFill>
              </a:rPr>
              <a:t> that predict macro and micro consumer behavior, and optimize product availability and price in order to maximize business goals.</a:t>
            </a:r>
            <a:endParaRPr lang="en-US" dirty="0">
              <a:solidFill>
                <a:srgbClr val="333333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F01F4FB3-52D7-CD44-8865-6B75349A895F}"/>
              </a:ext>
            </a:extLst>
          </p:cNvPr>
          <p:cNvGrpSpPr/>
          <p:nvPr/>
        </p:nvGrpSpPr>
        <p:grpSpPr>
          <a:xfrm>
            <a:off x="2009564" y="4233386"/>
            <a:ext cx="8118614" cy="1303734"/>
            <a:chOff x="485564" y="4233386"/>
            <a:chExt cx="8118614" cy="1303734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xmlns="" id="{CD2415F9-4031-8143-8805-BAB52F6DF8DA}"/>
                </a:ext>
              </a:extLst>
            </p:cNvPr>
            <p:cNvSpPr/>
            <p:nvPr/>
          </p:nvSpPr>
          <p:spPr>
            <a:xfrm>
              <a:off x="485564" y="4233386"/>
              <a:ext cx="1303734" cy="1303734"/>
            </a:xfrm>
            <a:custGeom>
              <a:avLst/>
              <a:gdLst>
                <a:gd name="connsiteX0" fmla="*/ 0 w 1303734"/>
                <a:gd name="connsiteY0" fmla="*/ 651867 h 1303734"/>
                <a:gd name="connsiteX1" fmla="*/ 651867 w 1303734"/>
                <a:gd name="connsiteY1" fmla="*/ 0 h 1303734"/>
                <a:gd name="connsiteX2" fmla="*/ 1303734 w 1303734"/>
                <a:gd name="connsiteY2" fmla="*/ 651867 h 1303734"/>
                <a:gd name="connsiteX3" fmla="*/ 651867 w 1303734"/>
                <a:gd name="connsiteY3" fmla="*/ 1303734 h 1303734"/>
                <a:gd name="connsiteX4" fmla="*/ 0 w 1303734"/>
                <a:gd name="connsiteY4" fmla="*/ 651867 h 130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3734" h="1303734">
                  <a:moveTo>
                    <a:pt x="0" y="651867"/>
                  </a:moveTo>
                  <a:cubicBezTo>
                    <a:pt x="0" y="291851"/>
                    <a:pt x="291851" y="0"/>
                    <a:pt x="651867" y="0"/>
                  </a:cubicBezTo>
                  <a:cubicBezTo>
                    <a:pt x="1011883" y="0"/>
                    <a:pt x="1303734" y="291851"/>
                    <a:pt x="1303734" y="651867"/>
                  </a:cubicBezTo>
                  <a:cubicBezTo>
                    <a:pt x="1303734" y="1011883"/>
                    <a:pt x="1011883" y="1303734"/>
                    <a:pt x="651867" y="1303734"/>
                  </a:cubicBezTo>
                  <a:cubicBezTo>
                    <a:pt x="291851" y="1303734"/>
                    <a:pt x="0" y="1011883"/>
                    <a:pt x="0" y="651867"/>
                  </a:cubicBezTo>
                  <a:close/>
                </a:path>
              </a:pathLst>
            </a:custGeom>
            <a:solidFill>
              <a:srgbClr val="3333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9977" tIns="209977" rIns="209977" bIns="209977" numCol="1" spcCol="1270" anchor="ctr" anchorCtr="0">
              <a:noAutofit/>
            </a:bodyPr>
            <a:lstStyle/>
            <a:p>
              <a:pPr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dirty="0"/>
                <a:t>Right Product</a:t>
              </a:r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xmlns="" id="{351FE03F-3E3B-FE47-A5E9-F495A0A0373A}"/>
                </a:ext>
              </a:extLst>
            </p:cNvPr>
            <p:cNvSpPr/>
            <p:nvPr/>
          </p:nvSpPr>
          <p:spPr>
            <a:xfrm>
              <a:off x="1895162" y="4507170"/>
              <a:ext cx="756165" cy="756165"/>
            </a:xfrm>
            <a:custGeom>
              <a:avLst/>
              <a:gdLst>
                <a:gd name="connsiteX0" fmla="*/ 100230 w 756165"/>
                <a:gd name="connsiteY0" fmla="*/ 289157 h 756165"/>
                <a:gd name="connsiteX1" fmla="*/ 289157 w 756165"/>
                <a:gd name="connsiteY1" fmla="*/ 289157 h 756165"/>
                <a:gd name="connsiteX2" fmla="*/ 289157 w 756165"/>
                <a:gd name="connsiteY2" fmla="*/ 100230 h 756165"/>
                <a:gd name="connsiteX3" fmla="*/ 467008 w 756165"/>
                <a:gd name="connsiteY3" fmla="*/ 100230 h 756165"/>
                <a:gd name="connsiteX4" fmla="*/ 467008 w 756165"/>
                <a:gd name="connsiteY4" fmla="*/ 289157 h 756165"/>
                <a:gd name="connsiteX5" fmla="*/ 655935 w 756165"/>
                <a:gd name="connsiteY5" fmla="*/ 289157 h 756165"/>
                <a:gd name="connsiteX6" fmla="*/ 655935 w 756165"/>
                <a:gd name="connsiteY6" fmla="*/ 467008 h 756165"/>
                <a:gd name="connsiteX7" fmla="*/ 467008 w 756165"/>
                <a:gd name="connsiteY7" fmla="*/ 467008 h 756165"/>
                <a:gd name="connsiteX8" fmla="*/ 467008 w 756165"/>
                <a:gd name="connsiteY8" fmla="*/ 655935 h 756165"/>
                <a:gd name="connsiteX9" fmla="*/ 289157 w 756165"/>
                <a:gd name="connsiteY9" fmla="*/ 655935 h 756165"/>
                <a:gd name="connsiteX10" fmla="*/ 289157 w 756165"/>
                <a:gd name="connsiteY10" fmla="*/ 467008 h 756165"/>
                <a:gd name="connsiteX11" fmla="*/ 100230 w 756165"/>
                <a:gd name="connsiteY11" fmla="*/ 467008 h 756165"/>
                <a:gd name="connsiteX12" fmla="*/ 100230 w 756165"/>
                <a:gd name="connsiteY12" fmla="*/ 289157 h 75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6165" h="756165">
                  <a:moveTo>
                    <a:pt x="100230" y="289157"/>
                  </a:moveTo>
                  <a:lnTo>
                    <a:pt x="289157" y="289157"/>
                  </a:lnTo>
                  <a:lnTo>
                    <a:pt x="289157" y="100230"/>
                  </a:lnTo>
                  <a:lnTo>
                    <a:pt x="467008" y="100230"/>
                  </a:lnTo>
                  <a:lnTo>
                    <a:pt x="467008" y="289157"/>
                  </a:lnTo>
                  <a:lnTo>
                    <a:pt x="655935" y="289157"/>
                  </a:lnTo>
                  <a:lnTo>
                    <a:pt x="655935" y="467008"/>
                  </a:lnTo>
                  <a:lnTo>
                    <a:pt x="467008" y="467008"/>
                  </a:lnTo>
                  <a:lnTo>
                    <a:pt x="467008" y="655935"/>
                  </a:lnTo>
                  <a:lnTo>
                    <a:pt x="289157" y="655935"/>
                  </a:lnTo>
                  <a:lnTo>
                    <a:pt x="289157" y="467008"/>
                  </a:lnTo>
                  <a:lnTo>
                    <a:pt x="100230" y="467008"/>
                  </a:lnTo>
                  <a:lnTo>
                    <a:pt x="100230" y="28915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0230" tIns="289157" rIns="100230" bIns="289157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200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xmlns="" id="{79799B5A-AA9B-5448-A9B4-01D98E8859CA}"/>
                </a:ext>
              </a:extLst>
            </p:cNvPr>
            <p:cNvSpPr/>
            <p:nvPr/>
          </p:nvSpPr>
          <p:spPr>
            <a:xfrm>
              <a:off x="2757191" y="4233386"/>
              <a:ext cx="1303734" cy="1303734"/>
            </a:xfrm>
            <a:custGeom>
              <a:avLst/>
              <a:gdLst>
                <a:gd name="connsiteX0" fmla="*/ 0 w 1303734"/>
                <a:gd name="connsiteY0" fmla="*/ 651867 h 1303734"/>
                <a:gd name="connsiteX1" fmla="*/ 651867 w 1303734"/>
                <a:gd name="connsiteY1" fmla="*/ 0 h 1303734"/>
                <a:gd name="connsiteX2" fmla="*/ 1303734 w 1303734"/>
                <a:gd name="connsiteY2" fmla="*/ 651867 h 1303734"/>
                <a:gd name="connsiteX3" fmla="*/ 651867 w 1303734"/>
                <a:gd name="connsiteY3" fmla="*/ 1303734 h 1303734"/>
                <a:gd name="connsiteX4" fmla="*/ 0 w 1303734"/>
                <a:gd name="connsiteY4" fmla="*/ 651867 h 130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3734" h="1303734">
                  <a:moveTo>
                    <a:pt x="0" y="651867"/>
                  </a:moveTo>
                  <a:cubicBezTo>
                    <a:pt x="0" y="291851"/>
                    <a:pt x="291851" y="0"/>
                    <a:pt x="651867" y="0"/>
                  </a:cubicBezTo>
                  <a:cubicBezTo>
                    <a:pt x="1011883" y="0"/>
                    <a:pt x="1303734" y="291851"/>
                    <a:pt x="1303734" y="651867"/>
                  </a:cubicBezTo>
                  <a:cubicBezTo>
                    <a:pt x="1303734" y="1011883"/>
                    <a:pt x="1011883" y="1303734"/>
                    <a:pt x="651867" y="1303734"/>
                  </a:cubicBezTo>
                  <a:cubicBezTo>
                    <a:pt x="291851" y="1303734"/>
                    <a:pt x="0" y="1011883"/>
                    <a:pt x="0" y="651867"/>
                  </a:cubicBezTo>
                  <a:close/>
                </a:path>
              </a:pathLst>
            </a:custGeom>
            <a:solidFill>
              <a:srgbClr val="3333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9977" tIns="209977" rIns="209977" bIns="209977" numCol="1" spcCol="1270" anchor="ctr" anchorCtr="0">
              <a:noAutofit/>
            </a:bodyPr>
            <a:lstStyle/>
            <a:p>
              <a:pPr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dirty="0"/>
                <a:t>Right Consumer </a:t>
              </a:r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xmlns="" id="{D4E3EF87-A7A0-6247-B4EA-D4122CCA1242}"/>
                </a:ext>
              </a:extLst>
            </p:cNvPr>
            <p:cNvSpPr/>
            <p:nvPr/>
          </p:nvSpPr>
          <p:spPr>
            <a:xfrm>
              <a:off x="4166789" y="4507170"/>
              <a:ext cx="756165" cy="756165"/>
            </a:xfrm>
            <a:custGeom>
              <a:avLst/>
              <a:gdLst>
                <a:gd name="connsiteX0" fmla="*/ 100230 w 756165"/>
                <a:gd name="connsiteY0" fmla="*/ 289157 h 756165"/>
                <a:gd name="connsiteX1" fmla="*/ 289157 w 756165"/>
                <a:gd name="connsiteY1" fmla="*/ 289157 h 756165"/>
                <a:gd name="connsiteX2" fmla="*/ 289157 w 756165"/>
                <a:gd name="connsiteY2" fmla="*/ 100230 h 756165"/>
                <a:gd name="connsiteX3" fmla="*/ 467008 w 756165"/>
                <a:gd name="connsiteY3" fmla="*/ 100230 h 756165"/>
                <a:gd name="connsiteX4" fmla="*/ 467008 w 756165"/>
                <a:gd name="connsiteY4" fmla="*/ 289157 h 756165"/>
                <a:gd name="connsiteX5" fmla="*/ 655935 w 756165"/>
                <a:gd name="connsiteY5" fmla="*/ 289157 h 756165"/>
                <a:gd name="connsiteX6" fmla="*/ 655935 w 756165"/>
                <a:gd name="connsiteY6" fmla="*/ 467008 h 756165"/>
                <a:gd name="connsiteX7" fmla="*/ 467008 w 756165"/>
                <a:gd name="connsiteY7" fmla="*/ 467008 h 756165"/>
                <a:gd name="connsiteX8" fmla="*/ 467008 w 756165"/>
                <a:gd name="connsiteY8" fmla="*/ 655935 h 756165"/>
                <a:gd name="connsiteX9" fmla="*/ 289157 w 756165"/>
                <a:gd name="connsiteY9" fmla="*/ 655935 h 756165"/>
                <a:gd name="connsiteX10" fmla="*/ 289157 w 756165"/>
                <a:gd name="connsiteY10" fmla="*/ 467008 h 756165"/>
                <a:gd name="connsiteX11" fmla="*/ 100230 w 756165"/>
                <a:gd name="connsiteY11" fmla="*/ 467008 h 756165"/>
                <a:gd name="connsiteX12" fmla="*/ 100230 w 756165"/>
                <a:gd name="connsiteY12" fmla="*/ 289157 h 75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56165" h="756165">
                  <a:moveTo>
                    <a:pt x="100230" y="289157"/>
                  </a:moveTo>
                  <a:lnTo>
                    <a:pt x="289157" y="289157"/>
                  </a:lnTo>
                  <a:lnTo>
                    <a:pt x="289157" y="100230"/>
                  </a:lnTo>
                  <a:lnTo>
                    <a:pt x="467008" y="100230"/>
                  </a:lnTo>
                  <a:lnTo>
                    <a:pt x="467008" y="289157"/>
                  </a:lnTo>
                  <a:lnTo>
                    <a:pt x="655935" y="289157"/>
                  </a:lnTo>
                  <a:lnTo>
                    <a:pt x="655935" y="467008"/>
                  </a:lnTo>
                  <a:lnTo>
                    <a:pt x="467008" y="467008"/>
                  </a:lnTo>
                  <a:lnTo>
                    <a:pt x="467008" y="655935"/>
                  </a:lnTo>
                  <a:lnTo>
                    <a:pt x="289157" y="655935"/>
                  </a:lnTo>
                  <a:lnTo>
                    <a:pt x="289157" y="467008"/>
                  </a:lnTo>
                  <a:lnTo>
                    <a:pt x="100230" y="467008"/>
                  </a:lnTo>
                  <a:lnTo>
                    <a:pt x="100230" y="28915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0230" tIns="289157" rIns="100230" bIns="289157" numCol="1" spcCol="1270" anchor="ctr" anchorCtr="0">
              <a:noAutofit/>
            </a:bodyPr>
            <a:lstStyle/>
            <a:p>
              <a:pPr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200"/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xmlns="" id="{B67E1FB4-9905-924C-A900-A3C0F2DDED02}"/>
                </a:ext>
              </a:extLst>
            </p:cNvPr>
            <p:cNvSpPr/>
            <p:nvPr/>
          </p:nvSpPr>
          <p:spPr>
            <a:xfrm>
              <a:off x="5028818" y="4233386"/>
              <a:ext cx="1303734" cy="1303734"/>
            </a:xfrm>
            <a:custGeom>
              <a:avLst/>
              <a:gdLst>
                <a:gd name="connsiteX0" fmla="*/ 0 w 1303734"/>
                <a:gd name="connsiteY0" fmla="*/ 651867 h 1303734"/>
                <a:gd name="connsiteX1" fmla="*/ 651867 w 1303734"/>
                <a:gd name="connsiteY1" fmla="*/ 0 h 1303734"/>
                <a:gd name="connsiteX2" fmla="*/ 1303734 w 1303734"/>
                <a:gd name="connsiteY2" fmla="*/ 651867 h 1303734"/>
                <a:gd name="connsiteX3" fmla="*/ 651867 w 1303734"/>
                <a:gd name="connsiteY3" fmla="*/ 1303734 h 1303734"/>
                <a:gd name="connsiteX4" fmla="*/ 0 w 1303734"/>
                <a:gd name="connsiteY4" fmla="*/ 651867 h 130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3734" h="1303734">
                  <a:moveTo>
                    <a:pt x="0" y="651867"/>
                  </a:moveTo>
                  <a:cubicBezTo>
                    <a:pt x="0" y="291851"/>
                    <a:pt x="291851" y="0"/>
                    <a:pt x="651867" y="0"/>
                  </a:cubicBezTo>
                  <a:cubicBezTo>
                    <a:pt x="1011883" y="0"/>
                    <a:pt x="1303734" y="291851"/>
                    <a:pt x="1303734" y="651867"/>
                  </a:cubicBezTo>
                  <a:cubicBezTo>
                    <a:pt x="1303734" y="1011883"/>
                    <a:pt x="1011883" y="1303734"/>
                    <a:pt x="651867" y="1303734"/>
                  </a:cubicBezTo>
                  <a:cubicBezTo>
                    <a:pt x="291851" y="1303734"/>
                    <a:pt x="0" y="1011883"/>
                    <a:pt x="0" y="651867"/>
                  </a:cubicBezTo>
                  <a:close/>
                </a:path>
              </a:pathLst>
            </a:custGeom>
            <a:solidFill>
              <a:srgbClr val="333333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9977" tIns="209977" rIns="209977" bIns="209977" numCol="1" spcCol="1270" anchor="ctr" anchorCtr="0">
              <a:noAutofit/>
            </a:bodyPr>
            <a:lstStyle/>
            <a:p>
              <a:pPr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dirty="0"/>
                <a:t>Right Time</a:t>
              </a: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xmlns="" id="{2F9346FF-4265-B140-AAC0-F66AF72A0308}"/>
                </a:ext>
              </a:extLst>
            </p:cNvPr>
            <p:cNvSpPr/>
            <p:nvPr/>
          </p:nvSpPr>
          <p:spPr>
            <a:xfrm>
              <a:off x="6438415" y="4507170"/>
              <a:ext cx="756165" cy="756165"/>
            </a:xfrm>
            <a:custGeom>
              <a:avLst/>
              <a:gdLst>
                <a:gd name="connsiteX0" fmla="*/ 100230 w 756165"/>
                <a:gd name="connsiteY0" fmla="*/ 155770 h 756165"/>
                <a:gd name="connsiteX1" fmla="*/ 655935 w 756165"/>
                <a:gd name="connsiteY1" fmla="*/ 155770 h 756165"/>
                <a:gd name="connsiteX2" fmla="*/ 655935 w 756165"/>
                <a:gd name="connsiteY2" fmla="*/ 333620 h 756165"/>
                <a:gd name="connsiteX3" fmla="*/ 100230 w 756165"/>
                <a:gd name="connsiteY3" fmla="*/ 333620 h 756165"/>
                <a:gd name="connsiteX4" fmla="*/ 100230 w 756165"/>
                <a:gd name="connsiteY4" fmla="*/ 155770 h 756165"/>
                <a:gd name="connsiteX5" fmla="*/ 100230 w 756165"/>
                <a:gd name="connsiteY5" fmla="*/ 422545 h 756165"/>
                <a:gd name="connsiteX6" fmla="*/ 655935 w 756165"/>
                <a:gd name="connsiteY6" fmla="*/ 422545 h 756165"/>
                <a:gd name="connsiteX7" fmla="*/ 655935 w 756165"/>
                <a:gd name="connsiteY7" fmla="*/ 600395 h 756165"/>
                <a:gd name="connsiteX8" fmla="*/ 100230 w 756165"/>
                <a:gd name="connsiteY8" fmla="*/ 600395 h 756165"/>
                <a:gd name="connsiteX9" fmla="*/ 100230 w 756165"/>
                <a:gd name="connsiteY9" fmla="*/ 422545 h 756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56165" h="756165">
                  <a:moveTo>
                    <a:pt x="100230" y="155770"/>
                  </a:moveTo>
                  <a:lnTo>
                    <a:pt x="655935" y="155770"/>
                  </a:lnTo>
                  <a:lnTo>
                    <a:pt x="655935" y="333620"/>
                  </a:lnTo>
                  <a:lnTo>
                    <a:pt x="100230" y="333620"/>
                  </a:lnTo>
                  <a:lnTo>
                    <a:pt x="100230" y="155770"/>
                  </a:lnTo>
                  <a:close/>
                  <a:moveTo>
                    <a:pt x="100230" y="422545"/>
                  </a:moveTo>
                  <a:lnTo>
                    <a:pt x="655935" y="422545"/>
                  </a:lnTo>
                  <a:lnTo>
                    <a:pt x="655935" y="600395"/>
                  </a:lnTo>
                  <a:lnTo>
                    <a:pt x="100230" y="600395"/>
                  </a:lnTo>
                  <a:lnTo>
                    <a:pt x="100230" y="422545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0230" tIns="155770" rIns="100230" bIns="155770" numCol="1" spcCol="1270" anchor="ctr" anchorCtr="0">
              <a:noAutofit/>
            </a:bodyPr>
            <a:lstStyle/>
            <a:p>
              <a:pPr algn="ctr" defTabSz="7556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700"/>
            </a:p>
          </p:txBody>
        </p:sp>
        <p:sp>
          <p:nvSpPr>
            <p:cNvPr id="14" name="Freeform 13">
              <a:extLst>
                <a:ext uri="{FF2B5EF4-FFF2-40B4-BE49-F238E27FC236}">
                  <a16:creationId xmlns:a16="http://schemas.microsoft.com/office/drawing/2014/main" xmlns="" id="{55AB9339-DB93-D342-80ED-99511679DF89}"/>
                </a:ext>
              </a:extLst>
            </p:cNvPr>
            <p:cNvSpPr/>
            <p:nvPr/>
          </p:nvSpPr>
          <p:spPr>
            <a:xfrm>
              <a:off x="7300444" y="4233386"/>
              <a:ext cx="1303734" cy="1303734"/>
            </a:xfrm>
            <a:custGeom>
              <a:avLst/>
              <a:gdLst>
                <a:gd name="connsiteX0" fmla="*/ 0 w 1303734"/>
                <a:gd name="connsiteY0" fmla="*/ 651867 h 1303734"/>
                <a:gd name="connsiteX1" fmla="*/ 651867 w 1303734"/>
                <a:gd name="connsiteY1" fmla="*/ 0 h 1303734"/>
                <a:gd name="connsiteX2" fmla="*/ 1303734 w 1303734"/>
                <a:gd name="connsiteY2" fmla="*/ 651867 h 1303734"/>
                <a:gd name="connsiteX3" fmla="*/ 651867 w 1303734"/>
                <a:gd name="connsiteY3" fmla="*/ 1303734 h 1303734"/>
                <a:gd name="connsiteX4" fmla="*/ 0 w 1303734"/>
                <a:gd name="connsiteY4" fmla="*/ 651867 h 1303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03734" h="1303734">
                  <a:moveTo>
                    <a:pt x="0" y="651867"/>
                  </a:moveTo>
                  <a:cubicBezTo>
                    <a:pt x="0" y="291851"/>
                    <a:pt x="291851" y="0"/>
                    <a:pt x="651867" y="0"/>
                  </a:cubicBezTo>
                  <a:cubicBezTo>
                    <a:pt x="1011883" y="0"/>
                    <a:pt x="1303734" y="291851"/>
                    <a:pt x="1303734" y="651867"/>
                  </a:cubicBezTo>
                  <a:cubicBezTo>
                    <a:pt x="1303734" y="1011883"/>
                    <a:pt x="1011883" y="1303734"/>
                    <a:pt x="651867" y="1303734"/>
                  </a:cubicBezTo>
                  <a:cubicBezTo>
                    <a:pt x="291851" y="1303734"/>
                    <a:pt x="0" y="1011883"/>
                    <a:pt x="0" y="651867"/>
                  </a:cubicBezTo>
                  <a:close/>
                </a:path>
              </a:pathLst>
            </a:custGeom>
            <a:solidFill>
              <a:srgbClr val="E2744C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09977" tIns="209977" rIns="209977" bIns="209977" numCol="1" spcCol="1270" anchor="ctr" anchorCtr="0">
              <a:noAutofit/>
            </a:bodyPr>
            <a:lstStyle/>
            <a:p>
              <a:pPr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500" dirty="0"/>
                <a:t>Maximize Sales and/or Profit</a:t>
              </a: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95AFED5F-9881-C841-8126-D903C97BB012}"/>
              </a:ext>
            </a:extLst>
          </p:cNvPr>
          <p:cNvSpPr/>
          <p:nvPr/>
        </p:nvSpPr>
        <p:spPr>
          <a:xfrm>
            <a:off x="4386544" y="6275544"/>
            <a:ext cx="389722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/>
              <a:t>Adapted from https://en.wikipedia.org/wiki/Revenue_management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xmlns="" id="{046E64BB-F53D-9D46-ADF4-C8CA52889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8847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BD42985-5245-E749-BD80-25391A10ED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RevMan challenge</a:t>
            </a:r>
            <a:endParaRPr lang="en-US" dirty="0"/>
          </a:p>
        </p:txBody>
      </p:sp>
      <p:sp>
        <p:nvSpPr>
          <p:cNvPr id="4" name="Round Diagonal Corner Rectangle 3">
            <a:extLst>
              <a:ext uri="{FF2B5EF4-FFF2-40B4-BE49-F238E27FC236}">
                <a16:creationId xmlns:a16="http://schemas.microsoft.com/office/drawing/2014/main" xmlns="" id="{B2C082B2-5B27-5F4A-BA32-3038CB5560AB}"/>
              </a:ext>
            </a:extLst>
          </p:cNvPr>
          <p:cNvSpPr/>
          <p:nvPr/>
        </p:nvSpPr>
        <p:spPr>
          <a:xfrm>
            <a:off x="2460555" y="1700213"/>
            <a:ext cx="3457576" cy="671512"/>
          </a:xfrm>
          <a:prstGeom prst="round2DiagRect">
            <a:avLst/>
          </a:prstGeom>
          <a:solidFill>
            <a:srgbClr val="333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/>
              <a:t>Primary</a:t>
            </a:r>
          </a:p>
        </p:txBody>
      </p:sp>
      <p:sp>
        <p:nvSpPr>
          <p:cNvPr id="5" name="Round Diagonal Corner Rectangle 4">
            <a:extLst>
              <a:ext uri="{FF2B5EF4-FFF2-40B4-BE49-F238E27FC236}">
                <a16:creationId xmlns:a16="http://schemas.microsoft.com/office/drawing/2014/main" xmlns="" id="{C3315083-7420-CD4A-BF9C-B863968FD731}"/>
              </a:ext>
            </a:extLst>
          </p:cNvPr>
          <p:cNvSpPr/>
          <p:nvPr/>
        </p:nvSpPr>
        <p:spPr>
          <a:xfrm flipH="1">
            <a:off x="6273870" y="1700213"/>
            <a:ext cx="3457576" cy="671512"/>
          </a:xfrm>
          <a:prstGeom prst="round2DiagRect">
            <a:avLst/>
          </a:prstGeom>
          <a:solidFill>
            <a:srgbClr val="E274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Secondar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xmlns="" id="{F0E834A9-EB74-7C4A-91F9-F6DF7B7A7CD9}"/>
              </a:ext>
            </a:extLst>
          </p:cNvPr>
          <p:cNvCxnSpPr>
            <a:cxnSpLocks/>
          </p:cNvCxnSpPr>
          <p:nvPr/>
        </p:nvCxnSpPr>
        <p:spPr>
          <a:xfrm>
            <a:off x="6067425" y="2371725"/>
            <a:ext cx="0" cy="2700338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52E193D-6607-2A45-A546-5C9F1C7C3440}"/>
              </a:ext>
            </a:extLst>
          </p:cNvPr>
          <p:cNvSpPr/>
          <p:nvPr/>
        </p:nvSpPr>
        <p:spPr>
          <a:xfrm>
            <a:off x="2460555" y="2828836"/>
            <a:ext cx="345757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333333"/>
                </a:solidFill>
              </a:rPr>
              <a:t>Develop data-driven pricing strategies and processes that maximize business goals while driving the analytical maturity of the organiz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A159AB34-2C4F-AD4A-9420-6FBD6C20C945}"/>
              </a:ext>
            </a:extLst>
          </p:cNvPr>
          <p:cNvSpPr/>
          <p:nvPr/>
        </p:nvSpPr>
        <p:spPr>
          <a:xfrm>
            <a:off x="6273870" y="2828836"/>
            <a:ext cx="3457576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rgbClr val="333333"/>
                </a:solidFill>
              </a:rPr>
              <a:t>Build integrated analytics capabilities for Retail, and enable systematic Trade Promo Effectiveness for CPG Organization and its customers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xmlns="" id="{9BBDEF8B-A5C7-5846-80D3-D3E3DE11A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1116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2804954" y="953015"/>
            <a:ext cx="7304655" cy="3962400"/>
          </a:xfrm>
          <a:prstGeom prst="rect">
            <a:avLst/>
          </a:prstGeom>
          <a:solidFill>
            <a:srgbClr val="FFFF99">
              <a:alpha val="11000"/>
            </a:srgbClr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520557" y="5122190"/>
            <a:ext cx="1340580" cy="82615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400" dirty="0">
              <a:solidFill>
                <a:prstClr val="white"/>
              </a:solidFill>
            </a:endParaRPr>
          </a:p>
        </p:txBody>
      </p:sp>
      <p:cxnSp>
        <p:nvCxnSpPr>
          <p:cNvPr id="15" name="Straight Arrow Connector 14"/>
          <p:cNvCxnSpPr>
            <a:stCxn id="13" idx="3"/>
            <a:endCxn id="10" idx="1"/>
          </p:cNvCxnSpPr>
          <p:nvPr/>
        </p:nvCxnSpPr>
        <p:spPr>
          <a:xfrm>
            <a:off x="8802629" y="5538277"/>
            <a:ext cx="1063631" cy="0"/>
          </a:xfrm>
          <a:prstGeom prst="straightConnector1">
            <a:avLst/>
          </a:prstGeom>
          <a:ln w="22225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/>
          <p:cNvSpPr txBox="1"/>
          <p:nvPr/>
        </p:nvSpPr>
        <p:spPr>
          <a:xfrm>
            <a:off x="4503230" y="5167334"/>
            <a:ext cx="143106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400" dirty="0">
                <a:solidFill>
                  <a:prstClr val="black"/>
                </a:solidFill>
                <a:latin typeface="Calibri"/>
              </a:rPr>
              <a:t>Automated Harmonization</a:t>
            </a:r>
          </a:p>
          <a:p>
            <a:pPr algn="ctr" defTabSz="914377"/>
            <a:r>
              <a:rPr lang="en-US" sz="1400" dirty="0">
                <a:solidFill>
                  <a:prstClr val="black"/>
                </a:solidFill>
                <a:latin typeface="Calibri"/>
              </a:rPr>
              <a:t>&amp; Integra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364230" y="5119177"/>
            <a:ext cx="1438399" cy="838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343311" y="5203563"/>
            <a:ext cx="143839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400" dirty="0">
                <a:solidFill>
                  <a:prstClr val="black"/>
                </a:solidFill>
                <a:latin typeface="Calibri"/>
              </a:rPr>
              <a:t>BlueSky Analytics &amp; PromoPro</a:t>
            </a:r>
          </a:p>
        </p:txBody>
      </p:sp>
      <p:sp>
        <p:nvSpPr>
          <p:cNvPr id="10" name="Rectangle 9"/>
          <p:cNvSpPr/>
          <p:nvPr/>
        </p:nvSpPr>
        <p:spPr>
          <a:xfrm>
            <a:off x="9866259" y="5119177"/>
            <a:ext cx="1385696" cy="8382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9923407" y="5287849"/>
            <a:ext cx="130974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400" dirty="0">
                <a:solidFill>
                  <a:prstClr val="black"/>
                </a:solidFill>
                <a:latin typeface="Calibri"/>
              </a:rPr>
              <a:t>Plan Improvemen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83907" y="1883898"/>
            <a:ext cx="1600200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46" indent="-171446" defTabSz="914377">
              <a:buFont typeface="Arial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Consumption</a:t>
            </a:r>
          </a:p>
          <a:p>
            <a:pPr marL="628635" lvl="1" indent="-171446" defTabSz="914377">
              <a:buFont typeface="Arial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IRI</a:t>
            </a:r>
          </a:p>
          <a:p>
            <a:pPr marL="628635" lvl="1" indent="-171446" defTabSz="914377">
              <a:buFont typeface="Arial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Nielsen</a:t>
            </a:r>
          </a:p>
          <a:p>
            <a:pPr marL="628635" lvl="1" indent="-171446" defTabSz="914377">
              <a:buFont typeface="Arial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POS</a:t>
            </a:r>
          </a:p>
          <a:p>
            <a:pPr marL="171446" indent="-171446" defTabSz="914377">
              <a:buFont typeface="Arial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Master Data</a:t>
            </a:r>
          </a:p>
          <a:p>
            <a:pPr marL="171446" indent="-171446" defTabSz="914377">
              <a:buFont typeface="Arial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Plans</a:t>
            </a:r>
          </a:p>
          <a:p>
            <a:pPr marL="171446" indent="-171446" defTabSz="914377">
              <a:buFont typeface="Arial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COGS</a:t>
            </a:r>
          </a:p>
          <a:p>
            <a:pPr marL="171446" indent="-171446" defTabSz="914377">
              <a:buFont typeface="Arial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Shipments</a:t>
            </a:r>
          </a:p>
          <a:p>
            <a:pPr marL="171446" indent="-171446" defTabSz="914377">
              <a:buFont typeface="Arial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Baseline</a:t>
            </a:r>
          </a:p>
          <a:p>
            <a:pPr marL="171446" indent="-171446" defTabSz="914377">
              <a:buFont typeface="Arial" pitchFamily="34" charset="0"/>
              <a:buChar char="•"/>
            </a:pPr>
            <a:r>
              <a:rPr lang="en-US" sz="1400" dirty="0">
                <a:solidFill>
                  <a:prstClr val="black"/>
                </a:solidFill>
                <a:latin typeface="Calibri"/>
              </a:rPr>
              <a:t>Other</a:t>
            </a:r>
          </a:p>
          <a:p>
            <a:pPr marL="171446" indent="-171446" defTabSz="914377">
              <a:buFont typeface="Arial" pitchFamily="34" charset="0"/>
              <a:buChar char="•"/>
            </a:pPr>
            <a:endParaRPr lang="en-US" sz="12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42" name="Right Brace 41"/>
          <p:cNvSpPr/>
          <p:nvPr/>
        </p:nvSpPr>
        <p:spPr>
          <a:xfrm>
            <a:off x="2421685" y="1796210"/>
            <a:ext cx="412297" cy="22259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990601" y="1383034"/>
            <a:ext cx="1768041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2133" dirty="0">
                <a:solidFill>
                  <a:prstClr val="black"/>
                </a:solidFill>
                <a:latin typeface="Calibri"/>
              </a:rPr>
              <a:t>Source Data</a:t>
            </a:r>
          </a:p>
        </p:txBody>
      </p:sp>
      <p:sp>
        <p:nvSpPr>
          <p:cNvPr id="44" name="Rectangle 43"/>
          <p:cNvSpPr/>
          <p:nvPr/>
        </p:nvSpPr>
        <p:spPr>
          <a:xfrm>
            <a:off x="1712857" y="5119178"/>
            <a:ext cx="1371600" cy="82615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760389" y="5266667"/>
            <a:ext cx="12954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400" dirty="0">
                <a:solidFill>
                  <a:prstClr val="black"/>
                </a:solidFill>
                <a:latin typeface="Calibri"/>
              </a:rPr>
              <a:t>Complex Source Data</a:t>
            </a:r>
          </a:p>
        </p:txBody>
      </p:sp>
      <p:cxnSp>
        <p:nvCxnSpPr>
          <p:cNvPr id="55" name="Straight Arrow Connector 54"/>
          <p:cNvCxnSpPr/>
          <p:nvPr/>
        </p:nvCxnSpPr>
        <p:spPr>
          <a:xfrm>
            <a:off x="3107385" y="5532256"/>
            <a:ext cx="1293840" cy="0"/>
          </a:xfrm>
          <a:prstGeom prst="straightConnector1">
            <a:avLst/>
          </a:prstGeom>
          <a:ln w="22225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stCxn id="22" idx="3"/>
            <a:endCxn id="13" idx="1"/>
          </p:cNvCxnSpPr>
          <p:nvPr/>
        </p:nvCxnSpPr>
        <p:spPr>
          <a:xfrm>
            <a:off x="5934295" y="5536666"/>
            <a:ext cx="1429935" cy="1611"/>
          </a:xfrm>
          <a:prstGeom prst="straightConnector1">
            <a:avLst/>
          </a:prstGeom>
          <a:ln w="22225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2847803" y="1731187"/>
            <a:ext cx="1424872" cy="954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867" dirty="0">
                <a:solidFill>
                  <a:prstClr val="black"/>
                </a:solidFill>
                <a:latin typeface="Calibri"/>
              </a:rPr>
              <a:t>BlueSky Integration</a:t>
            </a:r>
          </a:p>
          <a:p>
            <a:pPr algn="ctr" defTabSz="914377"/>
            <a:r>
              <a:rPr lang="en-US" sz="1867" dirty="0">
                <a:solidFill>
                  <a:prstClr val="black"/>
                </a:solidFill>
                <a:latin typeface="Calibri"/>
              </a:rPr>
              <a:t>Studio</a:t>
            </a:r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4023963" y="2925699"/>
            <a:ext cx="54013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4874953" y="1063092"/>
            <a:ext cx="281092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4000" b="1" dirty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TradeSmart</a:t>
            </a:r>
          </a:p>
        </p:txBody>
      </p:sp>
      <p:sp>
        <p:nvSpPr>
          <p:cNvPr id="5" name="Flowchart: Magnetic Disk 4"/>
          <p:cNvSpPr/>
          <p:nvPr/>
        </p:nvSpPr>
        <p:spPr>
          <a:xfrm>
            <a:off x="5842403" y="2358118"/>
            <a:ext cx="1300127" cy="1004311"/>
          </a:xfrm>
          <a:prstGeom prst="flowChartMagneticDisk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60" name="Curved Left Arrow 59"/>
          <p:cNvSpPr/>
          <p:nvPr/>
        </p:nvSpPr>
        <p:spPr>
          <a:xfrm>
            <a:off x="5557671" y="3265587"/>
            <a:ext cx="241577" cy="481823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61" name="Curved Down Arrow 60"/>
          <p:cNvSpPr/>
          <p:nvPr/>
        </p:nvSpPr>
        <p:spPr>
          <a:xfrm rot="16200000">
            <a:off x="5143733" y="3341100"/>
            <a:ext cx="472672" cy="241577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886276" y="2657121"/>
            <a:ext cx="12803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400" b="1" dirty="0" err="1">
                <a:solidFill>
                  <a:prstClr val="white"/>
                </a:solidFill>
                <a:latin typeface="Calibri"/>
              </a:rPr>
              <a:t>POSmart</a:t>
            </a:r>
            <a:endParaRPr lang="en-US" sz="1400" b="1" dirty="0">
              <a:solidFill>
                <a:prstClr val="white"/>
              </a:solidFill>
              <a:latin typeface="Calibri"/>
            </a:endParaRPr>
          </a:p>
          <a:p>
            <a:pPr algn="ctr" defTabSz="914377"/>
            <a:r>
              <a:rPr lang="en-US" sz="1400" b="1" dirty="0">
                <a:solidFill>
                  <a:prstClr val="white"/>
                </a:solidFill>
                <a:latin typeface="Calibri"/>
              </a:rPr>
              <a:t>DS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318304" y="3293222"/>
            <a:ext cx="591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600" dirty="0">
                <a:solidFill>
                  <a:prstClr val="black"/>
                </a:solidFill>
                <a:latin typeface="Calibri"/>
              </a:rPr>
              <a:t>BIS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306269" y="2749474"/>
            <a:ext cx="6107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/>
            <a:r>
              <a:rPr lang="en-US" sz="1600" dirty="0">
                <a:solidFill>
                  <a:prstClr val="black"/>
                </a:solidFill>
                <a:latin typeface="Calibri"/>
              </a:rPr>
              <a:t>BIS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3291842" y="2667002"/>
            <a:ext cx="516031" cy="517071"/>
            <a:chOff x="2312812" y="2403464"/>
            <a:chExt cx="516031" cy="517071"/>
          </a:xfrm>
        </p:grpSpPr>
        <p:sp>
          <p:nvSpPr>
            <p:cNvPr id="64" name="Curved Left Arrow 63"/>
            <p:cNvSpPr/>
            <p:nvPr/>
          </p:nvSpPr>
          <p:spPr>
            <a:xfrm>
              <a:off x="2587266" y="2438712"/>
              <a:ext cx="241577" cy="481823"/>
            </a:xfrm>
            <a:prstGeom prst="curved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sz="2400" dirty="0">
                <a:solidFill>
                  <a:prstClr val="black"/>
                </a:solidFill>
              </a:endParaRPr>
            </a:p>
          </p:txBody>
        </p:sp>
        <p:sp>
          <p:nvSpPr>
            <p:cNvPr id="65" name="Curved Down Arrow 64"/>
            <p:cNvSpPr/>
            <p:nvPr/>
          </p:nvSpPr>
          <p:spPr>
            <a:xfrm rot="16200000">
              <a:off x="2197265" y="2519011"/>
              <a:ext cx="472672" cy="241577"/>
            </a:xfrm>
            <a:prstGeom prst="curved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n-US" sz="2400" dirty="0">
                <a:solidFill>
                  <a:prstClr val="black"/>
                </a:solidFill>
              </a:endParaRPr>
            </a:p>
          </p:txBody>
        </p:sp>
      </p:grpSp>
      <p:sp>
        <p:nvSpPr>
          <p:cNvPr id="20" name="Rectangle 19"/>
          <p:cNvSpPr/>
          <p:nvPr/>
        </p:nvSpPr>
        <p:spPr>
          <a:xfrm>
            <a:off x="4708544" y="2575699"/>
            <a:ext cx="402111" cy="732628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reflection blurRad="6350" stA="52000" endA="300" endPos="350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7"/>
            <a:endParaRPr lang="en-US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7" name="Straight Arrow Connector 56"/>
          <p:cNvCxnSpPr/>
          <p:nvPr/>
        </p:nvCxnSpPr>
        <p:spPr>
          <a:xfrm flipV="1">
            <a:off x="5327460" y="2894594"/>
            <a:ext cx="369800" cy="874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>
          <a:xfrm>
            <a:off x="4494741" y="3382493"/>
            <a:ext cx="8172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200" dirty="0">
                <a:solidFill>
                  <a:prstClr val="black"/>
                </a:solidFill>
                <a:latin typeface="Calibri"/>
              </a:rPr>
              <a:t>Stage </a:t>
            </a:r>
          </a:p>
          <a:p>
            <a:pPr algn="ctr" defTabSz="914377"/>
            <a:r>
              <a:rPr lang="en-US" sz="1200" dirty="0">
                <a:solidFill>
                  <a:prstClr val="black"/>
                </a:solidFill>
                <a:latin typeface="Calibri"/>
              </a:rPr>
              <a:t>Conform</a:t>
            </a:r>
          </a:p>
          <a:p>
            <a:pPr algn="ctr" defTabSz="914377"/>
            <a:r>
              <a:rPr lang="en-US" sz="1200" dirty="0">
                <a:solidFill>
                  <a:prstClr val="black"/>
                </a:solidFill>
                <a:latin typeface="Calibri"/>
              </a:rPr>
              <a:t>Data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1308" y="3331021"/>
            <a:ext cx="1010825" cy="1010825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8463817" y="2489065"/>
            <a:ext cx="1447800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867" dirty="0">
                <a:solidFill>
                  <a:prstClr val="black"/>
                </a:solidFill>
                <a:latin typeface="Calibri"/>
              </a:rPr>
              <a:t>BlueSky Analytics</a:t>
            </a:r>
          </a:p>
        </p:txBody>
      </p:sp>
      <p:sp>
        <p:nvSpPr>
          <p:cNvPr id="66" name="Title 1"/>
          <p:cNvSpPr>
            <a:spLocks noGrp="1"/>
          </p:cNvSpPr>
          <p:nvPr>
            <p:ph type="title"/>
          </p:nvPr>
        </p:nvSpPr>
        <p:spPr>
          <a:xfrm>
            <a:off x="203201" y="274637"/>
            <a:ext cx="11683999" cy="639763"/>
          </a:xfrm>
        </p:spPr>
        <p:txBody>
          <a:bodyPr>
            <a:normAutofit fontScale="90000"/>
          </a:bodyPr>
          <a:lstStyle/>
          <a:p>
            <a:r>
              <a:rPr lang="en-US" sz="2667" dirty="0"/>
              <a:t>TradeSmart Foundation: </a:t>
            </a:r>
            <a:r>
              <a:rPr lang="en-US" sz="2400" dirty="0"/>
              <a:t>1st Create The Enterprise Foundation that will support all sources</a:t>
            </a:r>
            <a:endParaRPr lang="en-US" sz="2667" dirty="0"/>
          </a:p>
        </p:txBody>
      </p:sp>
      <p:sp>
        <p:nvSpPr>
          <p:cNvPr id="67" name="TextBox 66"/>
          <p:cNvSpPr txBox="1"/>
          <p:nvPr/>
        </p:nvSpPr>
        <p:spPr>
          <a:xfrm>
            <a:off x="2774961" y="3157651"/>
            <a:ext cx="157139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600" dirty="0">
                <a:solidFill>
                  <a:prstClr val="black"/>
                </a:solidFill>
                <a:latin typeface="Calibri"/>
              </a:rPr>
              <a:t>Pre-designed</a:t>
            </a:r>
          </a:p>
          <a:p>
            <a:pPr algn="ctr" defTabSz="914377"/>
            <a:r>
              <a:rPr lang="en-US" sz="1600" dirty="0">
                <a:solidFill>
                  <a:prstClr val="black"/>
                </a:solidFill>
                <a:latin typeface="Calibri"/>
              </a:rPr>
              <a:t>Retailer &amp; Integration</a:t>
            </a:r>
          </a:p>
          <a:p>
            <a:pPr algn="ctr" defTabSz="914377"/>
            <a:r>
              <a:rPr lang="en-US" sz="1600" dirty="0">
                <a:solidFill>
                  <a:prstClr val="black"/>
                </a:solidFill>
                <a:latin typeface="Calibri"/>
              </a:rPr>
              <a:t>Processes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506647" y="1829714"/>
            <a:ext cx="20371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1600" dirty="0">
                <a:solidFill>
                  <a:prstClr val="black"/>
                </a:solidFill>
                <a:latin typeface="Calibri"/>
              </a:rPr>
              <a:t>Process Control</a:t>
            </a:r>
          </a:p>
          <a:p>
            <a:pPr algn="ctr" defTabSz="914377"/>
            <a:r>
              <a:rPr lang="en-US" sz="1600" dirty="0">
                <a:solidFill>
                  <a:prstClr val="black"/>
                </a:solidFill>
                <a:latin typeface="Calibri"/>
              </a:rPr>
              <a:t>Data Foundation</a:t>
            </a:r>
          </a:p>
        </p:txBody>
      </p:sp>
      <p:sp>
        <p:nvSpPr>
          <p:cNvPr id="4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534400" y="6416676"/>
            <a:ext cx="2844800" cy="365125"/>
          </a:xfrm>
        </p:spPr>
        <p:txBody>
          <a:bodyPr/>
          <a:lstStyle/>
          <a:p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27</a:t>
            </a:r>
          </a:p>
        </p:txBody>
      </p:sp>
      <p:cxnSp>
        <p:nvCxnSpPr>
          <p:cNvPr id="56" name="Straight Arrow Connector 55"/>
          <p:cNvCxnSpPr/>
          <p:nvPr/>
        </p:nvCxnSpPr>
        <p:spPr>
          <a:xfrm flipV="1">
            <a:off x="7224212" y="2532656"/>
            <a:ext cx="1123631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AutoShape 13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gray">
          <a:xfrm>
            <a:off x="5884271" y="3415258"/>
            <a:ext cx="1261030" cy="1236036"/>
          </a:xfrm>
          <a:prstGeom prst="can">
            <a:avLst>
              <a:gd name="adj" fmla="val 25000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hlink"/>
            </a:solidFill>
            <a:round/>
            <a:headEnd/>
            <a:tailEnd/>
          </a:ln>
          <a:effectLst/>
          <a:extLst/>
        </p:spPr>
        <p:txBody>
          <a:bodyPr wrap="none" lIns="73152" tIns="18000" rIns="18000" bIns="18000" anchor="ctr"/>
          <a:lstStyle/>
          <a:p>
            <a:pPr marL="225420" lvl="1" indent="-111123" defTabSz="914377">
              <a:lnSpc>
                <a:spcPct val="85000"/>
              </a:lnSpc>
              <a:buFontTx/>
              <a:buChar char="•"/>
            </a:pPr>
            <a:r>
              <a:rPr lang="en-US" sz="1000" b="1" dirty="0">
                <a:solidFill>
                  <a:prstClr val="white"/>
                </a:solidFill>
                <a:latin typeface="Arial"/>
              </a:rPr>
              <a:t>Shipments</a:t>
            </a:r>
          </a:p>
          <a:p>
            <a:pPr marL="225420" lvl="1" indent="-111123" defTabSz="914377">
              <a:lnSpc>
                <a:spcPct val="85000"/>
              </a:lnSpc>
              <a:buFontTx/>
              <a:buChar char="•"/>
            </a:pPr>
            <a:r>
              <a:rPr lang="en-US" sz="1000" b="1" dirty="0">
                <a:solidFill>
                  <a:prstClr val="white"/>
                </a:solidFill>
                <a:latin typeface="Arial"/>
              </a:rPr>
              <a:t>Products</a:t>
            </a:r>
          </a:p>
          <a:p>
            <a:pPr marL="225420" lvl="1" indent="-111123" defTabSz="914377">
              <a:lnSpc>
                <a:spcPct val="85000"/>
              </a:lnSpc>
              <a:buFontTx/>
              <a:buChar char="•"/>
            </a:pPr>
            <a:r>
              <a:rPr lang="en-US" sz="1000" b="1" dirty="0">
                <a:solidFill>
                  <a:prstClr val="white"/>
                </a:solidFill>
                <a:latin typeface="Arial"/>
              </a:rPr>
              <a:t>Plans</a:t>
            </a:r>
          </a:p>
          <a:p>
            <a:pPr marL="225420" lvl="1" indent="-111123" defTabSz="914377">
              <a:lnSpc>
                <a:spcPct val="85000"/>
              </a:lnSpc>
              <a:buFontTx/>
              <a:buChar char="•"/>
            </a:pPr>
            <a:r>
              <a:rPr lang="en-US" sz="1000" b="1" dirty="0">
                <a:solidFill>
                  <a:prstClr val="white"/>
                </a:solidFill>
                <a:latin typeface="Arial"/>
              </a:rPr>
              <a:t>Syndicated</a:t>
            </a:r>
          </a:p>
        </p:txBody>
      </p:sp>
      <p:sp>
        <p:nvSpPr>
          <p:cNvPr id="51" name="Right Brace 50"/>
          <p:cNvSpPr/>
          <p:nvPr/>
        </p:nvSpPr>
        <p:spPr>
          <a:xfrm>
            <a:off x="10186827" y="1963531"/>
            <a:ext cx="412297" cy="20574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7"/>
            <a:endParaRPr lang="en-US" sz="2400" dirty="0">
              <a:solidFill>
                <a:prstClr val="black"/>
              </a:solidFill>
            </a:endParaRPr>
          </a:p>
        </p:txBody>
      </p:sp>
      <p:pic>
        <p:nvPicPr>
          <p:cNvPr id="53" name="Picture 3" descr="C:\Users\york\Desktop\Rob's Apps and Files\Images\BlueSky Images\BSA POS and Syndicated Data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7615" y="2457084"/>
            <a:ext cx="1330147" cy="10702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0" name="Straight Arrow Connector 69"/>
          <p:cNvCxnSpPr/>
          <p:nvPr/>
        </p:nvCxnSpPr>
        <p:spPr>
          <a:xfrm flipV="1">
            <a:off x="7195184" y="4167371"/>
            <a:ext cx="1123631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09524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/>
          <p:cNvSpPr>
            <a:spLocks noGrp="1"/>
          </p:cNvSpPr>
          <p:nvPr>
            <p:ph type="title"/>
          </p:nvPr>
        </p:nvSpPr>
        <p:spPr>
          <a:xfrm>
            <a:off x="203201" y="274637"/>
            <a:ext cx="11683999" cy="639763"/>
          </a:xfrm>
        </p:spPr>
        <p:txBody>
          <a:bodyPr>
            <a:normAutofit/>
          </a:bodyPr>
          <a:lstStyle/>
          <a:p>
            <a:r>
              <a:rPr lang="en-US" sz="2667" dirty="0"/>
              <a:t>TradeSmart Foundation: </a:t>
            </a:r>
            <a:r>
              <a:rPr lang="en-US" sz="2400" dirty="0"/>
              <a:t>2nd Enrich the Data to Enable Insights</a:t>
            </a:r>
            <a:endParaRPr lang="en-US" sz="2667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C2D643AF-39AD-4FB7-B3CE-A41DBC7ACE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" y="1143000"/>
            <a:ext cx="10763339" cy="490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974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D6CF6C-768A-4345-9697-92A5E0B50B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remain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xmlns="" id="{B95CAB10-B19C-8C4E-82B1-15CD81F7EF04}"/>
              </a:ext>
            </a:extLst>
          </p:cNvPr>
          <p:cNvSpPr/>
          <p:nvPr/>
        </p:nvSpPr>
        <p:spPr>
          <a:xfrm>
            <a:off x="4418203" y="3232314"/>
            <a:ext cx="1530626" cy="1530626"/>
          </a:xfrm>
          <a:prstGeom prst="ellipse">
            <a:avLst/>
          </a:prstGeom>
          <a:solidFill>
            <a:srgbClr val="E2744C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E4179504-0FFA-3444-A292-E4623936F08A}"/>
              </a:ext>
            </a:extLst>
          </p:cNvPr>
          <p:cNvSpPr/>
          <p:nvPr/>
        </p:nvSpPr>
        <p:spPr>
          <a:xfrm>
            <a:off x="5454561" y="1612235"/>
            <a:ext cx="1530626" cy="1530626"/>
          </a:xfrm>
          <a:prstGeom prst="ellipse">
            <a:avLst/>
          </a:prstGeom>
          <a:solidFill>
            <a:srgbClr val="E2744C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BD77F7D6-7169-0048-864F-C5858BDDE1A4}"/>
              </a:ext>
            </a:extLst>
          </p:cNvPr>
          <p:cNvSpPr/>
          <p:nvPr/>
        </p:nvSpPr>
        <p:spPr>
          <a:xfrm>
            <a:off x="6555116" y="3232314"/>
            <a:ext cx="1530626" cy="1530626"/>
          </a:xfrm>
          <a:prstGeom prst="ellipse">
            <a:avLst/>
          </a:prstGeom>
          <a:solidFill>
            <a:srgbClr val="E2744C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A19E2A1-4317-584F-A21F-49733BA81A6A}"/>
              </a:ext>
            </a:extLst>
          </p:cNvPr>
          <p:cNvSpPr/>
          <p:nvPr/>
        </p:nvSpPr>
        <p:spPr>
          <a:xfrm>
            <a:off x="5508817" y="2059412"/>
            <a:ext cx="14763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Data acquisi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B2D63AD9-5C00-FC48-9BD2-CB9BB15DDF69}"/>
              </a:ext>
            </a:extLst>
          </p:cNvPr>
          <p:cNvSpPr/>
          <p:nvPr/>
        </p:nvSpPr>
        <p:spPr>
          <a:xfrm>
            <a:off x="4418203" y="3812961"/>
            <a:ext cx="14763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803145B-74D3-4249-BA5D-887A06AF39D6}"/>
              </a:ext>
            </a:extLst>
          </p:cNvPr>
          <p:cNvSpPr/>
          <p:nvPr/>
        </p:nvSpPr>
        <p:spPr>
          <a:xfrm>
            <a:off x="6582244" y="3674462"/>
            <a:ext cx="14763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Human capita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9C2387A1-87E1-3F45-8628-487A8FEE7D6E}"/>
              </a:ext>
            </a:extLst>
          </p:cNvPr>
          <p:cNvSpPr/>
          <p:nvPr/>
        </p:nvSpPr>
        <p:spPr>
          <a:xfrm>
            <a:off x="1965927" y="1816656"/>
            <a:ext cx="34886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lvl="1" algn="r"/>
            <a:r>
              <a:rPr lang="en-US" sz="1600" dirty="0"/>
              <a:t>Great coverage for retail…other business areas (e.g.: Food service) lagging consumption dat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58C3624D-8C2C-774F-9E9F-8173F62F577E}"/>
              </a:ext>
            </a:extLst>
          </p:cNvPr>
          <p:cNvSpPr/>
          <p:nvPr/>
        </p:nvSpPr>
        <p:spPr>
          <a:xfrm>
            <a:off x="2405940" y="4852394"/>
            <a:ext cx="275044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lvl="1" algn="ctr"/>
            <a:r>
              <a:rPr lang="en-US" sz="1600" dirty="0"/>
              <a:t>Often reactive vs. proactive</a:t>
            </a:r>
          </a:p>
          <a:p>
            <a:pPr marL="9525" lvl="1" algn="ctr"/>
            <a:r>
              <a:rPr lang="en-US" sz="1600" dirty="0"/>
              <a:t>Brain surgeons administering cold remedi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08A79090-B71A-9F4C-B8DB-4CE3040809B9}"/>
              </a:ext>
            </a:extLst>
          </p:cNvPr>
          <p:cNvSpPr/>
          <p:nvPr/>
        </p:nvSpPr>
        <p:spPr>
          <a:xfrm>
            <a:off x="7320429" y="4852393"/>
            <a:ext cx="26239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lvl="1" algn="ctr"/>
            <a:r>
              <a:rPr lang="en-US" sz="1600" dirty="0"/>
              <a:t>Hard to find the “unicorns”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xmlns="" id="{3E8460EE-D0D2-6442-BBC1-208AE414F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8A05A3-E313-FC44-9866-DD6EB47466E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0924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Fwc6sR6E20BZ3cBprXHw"/>
</p:tagLst>
</file>

<file path=ppt/theme/theme1.xml><?xml version="1.0" encoding="utf-8"?>
<a:theme xmlns:a="http://schemas.openxmlformats.org/drawingml/2006/main" name="Mindtree">
  <a:themeElements>
    <a:clrScheme name="Mindtree">
      <a:dk1>
        <a:srgbClr val="4D4F53"/>
      </a:dk1>
      <a:lt1>
        <a:sysClr val="window" lastClr="FFFFFF"/>
      </a:lt1>
      <a:dk2>
        <a:srgbClr val="6E267B"/>
      </a:dk2>
      <a:lt2>
        <a:srgbClr val="929499"/>
      </a:lt2>
      <a:accent1>
        <a:srgbClr val="A71930"/>
      </a:accent1>
      <a:accent2>
        <a:srgbClr val="E37222"/>
      </a:accent2>
      <a:accent3>
        <a:srgbClr val="830051"/>
      </a:accent3>
      <a:accent4>
        <a:srgbClr val="C7D28A"/>
      </a:accent4>
      <a:accent5>
        <a:srgbClr val="0066A1"/>
      </a:accent5>
      <a:accent6>
        <a:srgbClr val="4D4F53"/>
      </a:accent6>
      <a:hlink>
        <a:srgbClr val="0000FF"/>
      </a:hlink>
      <a:folHlink>
        <a:srgbClr val="800080"/>
      </a:folHlink>
    </a:clrScheme>
    <a:fontScheme name="Mindtre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>
            <a:solidFill>
              <a:srgbClr val="4D4F53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indtree" id="{307923F2-DEC3-4A1E-869B-32C32094662F}" vid="{6ADCEAD2-2713-4F75-8BBE-151149801F75}"/>
    </a:ext>
  </a:extLst>
</a:theme>
</file>

<file path=ppt/theme/theme2.xml><?xml version="1.0" encoding="utf-8"?>
<a:theme xmlns:a="http://schemas.openxmlformats.org/drawingml/2006/main" name="1_Mindtree">
  <a:themeElements>
    <a:clrScheme name="Mindtree">
      <a:dk1>
        <a:srgbClr val="4D4F53"/>
      </a:dk1>
      <a:lt1>
        <a:sysClr val="window" lastClr="FFFFFF"/>
      </a:lt1>
      <a:dk2>
        <a:srgbClr val="6E267B"/>
      </a:dk2>
      <a:lt2>
        <a:srgbClr val="929499"/>
      </a:lt2>
      <a:accent1>
        <a:srgbClr val="A71930"/>
      </a:accent1>
      <a:accent2>
        <a:srgbClr val="E37222"/>
      </a:accent2>
      <a:accent3>
        <a:srgbClr val="830051"/>
      </a:accent3>
      <a:accent4>
        <a:srgbClr val="C7D28A"/>
      </a:accent4>
      <a:accent5>
        <a:srgbClr val="0066A1"/>
      </a:accent5>
      <a:accent6>
        <a:srgbClr val="4D4F53"/>
      </a:accent6>
      <a:hlink>
        <a:srgbClr val="0000FF"/>
      </a:hlink>
      <a:folHlink>
        <a:srgbClr val="800080"/>
      </a:folHlink>
    </a:clrScheme>
    <a:fontScheme name="Mindtre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4B4B4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>
            <a:solidFill>
              <a:srgbClr val="4D4F53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indtree" id="{307923F2-DEC3-4A1E-869B-32C32094662F}" vid="{6ADCEAD2-2713-4F75-8BBE-151149801F7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CTDocLibrary" ma:contentTypeID="0x010100C5D5EC2DEF914E3897774E287F80A8FB009AEF830D60E8FD438A57292D9D6FD534" ma:contentTypeVersion="8" ma:contentTypeDescription="My Content Type" ma:contentTypeScope="" ma:versionID="7e91ea7087de00facbf80169ad168748">
  <xsd:schema xmlns:xsd="http://www.w3.org/2001/XMLSchema" xmlns:xs="http://www.w3.org/2001/XMLSchema" xmlns:p="http://schemas.microsoft.com/office/2006/metadata/properties" xmlns:ns1="http://schemas.microsoft.com/sharepoint/v3" xmlns:ns2="87965e3b-77f2-4277-a8d8-17fe65c91704" targetNamespace="http://schemas.microsoft.com/office/2006/metadata/properties" ma:root="true" ma:fieldsID="34f70ad64cd7dcaf6ee49d5f573f813e" ns1:_="" ns2:_="">
    <xsd:import namespace="http://schemas.microsoft.com/sharepoint/v3"/>
    <xsd:import namespace="87965e3b-77f2-4277-a8d8-17fe65c91704"/>
    <xsd:element name="properties">
      <xsd:complexType>
        <xsd:sequence>
          <xsd:element name="documentManagement">
            <xsd:complexType>
              <xsd:all>
                <xsd:element ref="ns2:ProjectName" minOccurs="0"/>
                <xsd:element ref="ns2:ProjectIGName" minOccurs="0"/>
                <xsd:element ref="ns2:ProjectAccountName" minOccurs="0"/>
                <xsd:element ref="ns1:RatingCount" minOccurs="0"/>
                <xsd:element ref="ns1:AverageRating" minOccurs="0"/>
                <xsd:element ref="ns1:RatedBy" minOccurs="0"/>
                <xsd:element ref="ns1:Ratings" minOccurs="0"/>
                <xsd:element ref="ns1:LikesCount" minOccurs="0"/>
                <xsd:element ref="ns1:LikedB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atingCount" ma:index="11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AverageRating" ma:index="12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edBy" ma:index="13" nillable="true" ma:displayName="Rated By" ma:description="Users rated the item." ma:hidden="true" ma:list="UserInfo" ma:internalName="Rat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Ratings" ma:index="14" nillable="true" ma:displayName="User ratings" ma:description="User ratings for the item" ma:hidden="true" ma:internalName="Ratings">
      <xsd:simpleType>
        <xsd:restriction base="dms:Note"/>
      </xsd:simpleType>
    </xsd:element>
    <xsd:element name="LikesCount" ma:index="15" nillable="true" ma:displayName="Number of Likes" ma:internalName="LikesCount">
      <xsd:simpleType>
        <xsd:restriction base="dms:Unknown"/>
      </xsd:simpleType>
    </xsd:element>
    <xsd:element name="LikedBy" ma:index="16" nillable="true" ma:displayName="Liked By" ma:hidden="true" ma:list="UserInfo" ma:internalName="LikedBy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965e3b-77f2-4277-a8d8-17fe65c91704" elementFormDefault="qualified">
    <xsd:import namespace="http://schemas.microsoft.com/office/2006/documentManagement/types"/>
    <xsd:import namespace="http://schemas.microsoft.com/office/infopath/2007/PartnerControls"/>
    <xsd:element name="ProjectName" ma:index="8" nillable="true" ma:displayName="ProjectName" ma:internalName="ProjectName">
      <xsd:simpleType>
        <xsd:restriction base="dms:Text"/>
      </xsd:simpleType>
    </xsd:element>
    <xsd:element name="ProjectIGName" ma:index="9" nillable="true" ma:displayName="ProjectIGName" ma:internalName="ProjectIGName">
      <xsd:simpleType>
        <xsd:restriction base="dms:Text"/>
      </xsd:simpleType>
    </xsd:element>
    <xsd:element name="ProjectAccountName" ma:index="10" nillable="true" ma:displayName="ProjectAccountName" ma:internalName="ProjectAccountNam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jectName xmlns="87965e3b-77f2-4277-a8d8-17fe65c91704">Digital Industrialization</ProjectName>
    <ProjectIGName xmlns="87965e3b-77f2-4277-a8d8-17fe65c91704">Mindtree</ProjectIGName>
    <ProjectAccountName xmlns="87965e3b-77f2-4277-a8d8-17fe65c91704">Mindtree</ProjectAccountName>
    <LikesCount xmlns="http://schemas.microsoft.com/sharepoint/v3" xsi:nil="true"/>
    <Ratings xmlns="http://schemas.microsoft.com/sharepoint/v3" xsi:nil="true"/>
    <LikedBy xmlns="http://schemas.microsoft.com/sharepoint/v3">
      <UserInfo>
        <DisplayName/>
        <AccountId xsi:nil="true"/>
        <AccountType/>
      </UserInfo>
    </LikedBy>
    <RatedBy xmlns="http://schemas.microsoft.com/sharepoint/v3">
      <UserInfo>
        <DisplayName/>
        <AccountId xsi:nil="true"/>
        <AccountType/>
      </UserInfo>
    </RatedBy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694446D-A0D8-4801-97C8-B6055EAD5F7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7965e3b-77f2-4277-a8d8-17fe65c9170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3F60FA5-FDA0-4ED6-8D2E-20E618D0445D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87965e3b-77f2-4277-a8d8-17fe65c91704"/>
    <ds:schemaRef ds:uri="http://purl.org/dc/dcmitype/"/>
    <ds:schemaRef ds:uri="http://schemas.microsoft.com/sharepoint/v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791CB78-B5E4-4905-8120-4A051999575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ndtree PowerPoint Template</Template>
  <TotalTime>23887</TotalTime>
  <Words>243</Words>
  <Application>Microsoft Macintosh PowerPoint</Application>
  <PresentationFormat>Custom</PresentationFormat>
  <Paragraphs>69</Paragraphs>
  <Slides>6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Mindtree</vt:lpstr>
      <vt:lpstr>1_Mindtree</vt:lpstr>
      <vt:lpstr>PowerPoint Presentation</vt:lpstr>
      <vt:lpstr>Revenue Management more than just Pricing</vt:lpstr>
      <vt:lpstr>The RevMan challenge</vt:lpstr>
      <vt:lpstr>TradeSmart Foundation: 1st Create The Enterprise Foundation that will support all sources</vt:lpstr>
      <vt:lpstr>TradeSmart Foundation: 2nd Enrich the Data to Enable Insights</vt:lpstr>
      <vt:lpstr>Challenges remai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a Analytics with Data Management Capability deck</dc:title>
  <dc:subject>Data Management Capability deck</dc:subject>
  <dc:creator>BRAHMACHARI, SATYA</dc:creator>
  <cp:lastModifiedBy>Heritage Marketing</cp:lastModifiedBy>
  <cp:revision>2646</cp:revision>
  <cp:lastPrinted>2018-03-26T21:11:24Z</cp:lastPrinted>
  <dcterms:created xsi:type="dcterms:W3CDTF">2013-07-31T18:21:57Z</dcterms:created>
  <dcterms:modified xsi:type="dcterms:W3CDTF">2018-11-21T01:48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5D5EC2DEF914E3897774E287F80A8FB009AEF830D60E8FD438A57292D9D6FD534</vt:lpwstr>
  </property>
</Properties>
</file>